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7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7" r:id="rId5"/>
    <p:sldMasterId id="2147483849" r:id="rId6"/>
    <p:sldMasterId id="2147483737" r:id="rId7"/>
    <p:sldMasterId id="2147483765" r:id="rId8"/>
    <p:sldMasterId id="2147483793" r:id="rId9"/>
    <p:sldMasterId id="2147483821" r:id="rId10"/>
  </p:sldMasterIdLst>
  <p:notesMasterIdLst>
    <p:notesMasterId r:id="rId17"/>
  </p:notesMasterIdLst>
  <p:handoutMasterIdLst>
    <p:handoutMasterId r:id="rId18"/>
  </p:handoutMasterIdLst>
  <p:sldIdLst>
    <p:sldId id="2145707704" r:id="rId11"/>
    <p:sldId id="3383" r:id="rId12"/>
    <p:sldId id="2145707706" r:id="rId13"/>
    <p:sldId id="2145707708" r:id="rId14"/>
    <p:sldId id="2145707709" r:id="rId15"/>
    <p:sldId id="2145707710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FA06D4B-D000-97F6-D584-F239E7A6553B}" name="Felipe Ruiz" initials="FR" userId="S::Felipe.Ruiz@lla.com::71f03002-2869-40b0-9833-077c1995a2d4" providerId="AD"/>
  <p188:author id="{B10C109C-E2E1-F99B-49FD-F3866480099A}" name="Camilo Cuartas" initials="CC" userId="S::camilo.cuartas@lla.com::7ebb67fc-e6e1-4471-b5ea-9109d317215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lipe Ruiz" initials="FR" lastIdx="4" clrIdx="0">
    <p:extLst>
      <p:ext uri="{19B8F6BF-5375-455C-9EA6-DF929625EA0E}">
        <p15:presenceInfo xmlns:p15="http://schemas.microsoft.com/office/powerpoint/2012/main" userId="S::Felipe.Ruiz@lla.com::71f03002-2869-40b0-9833-077c1995a2d4" providerId="AD"/>
      </p:ext>
    </p:extLst>
  </p:cmAuthor>
  <p:cmAuthor id="2" name="Christine Weber" initials="CW" lastIdx="6" clrIdx="1">
    <p:extLst>
      <p:ext uri="{19B8F6BF-5375-455C-9EA6-DF929625EA0E}">
        <p15:presenceInfo xmlns:p15="http://schemas.microsoft.com/office/powerpoint/2012/main" userId="S::christine.weber@lla.com::e878bb51-0ab2-4921-a579-51d6833f3f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4101"/>
    <a:srgbClr val="FF6E01"/>
    <a:srgbClr val="FFA626"/>
    <a:srgbClr val="FF7A01"/>
    <a:srgbClr val="FF9900"/>
    <a:srgbClr val="CC6600"/>
    <a:srgbClr val="E48EE4"/>
    <a:srgbClr val="73B8FF"/>
    <a:srgbClr val="8FDA6A"/>
    <a:srgbClr val="FF98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75BB57-E529-4AE8-85E8-F7873A703539}" v="2297" dt="2022-07-15T16:51:28.6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6634" autoAdjust="0"/>
  </p:normalViewPr>
  <p:slideViewPr>
    <p:cSldViewPr snapToGrid="0">
      <p:cViewPr varScale="1">
        <p:scale>
          <a:sx n="85" d="100"/>
          <a:sy n="85" d="100"/>
        </p:scale>
        <p:origin x="99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992E28-BC29-E048-B316-30CDEC936B8B}" type="datetimeFigureOut">
              <a:rPr lang="en-US" smtClean="0"/>
              <a:t>7/1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59B611-572A-884D-9009-F185403393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287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7BE721-2C2C-5041-8AEA-87A41BA4944C}" type="datetimeFigureOut">
              <a:rPr lang="en-US" smtClean="0"/>
              <a:t>7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DA9585-6945-9347-A776-DE934A84F3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nn.com/2021/05/12/tech/colonial-pipeline-cyber-security-manager-job-search/index.html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bloomberg.com/news/articles/2021-06-04/hackers-breached-colonial-pipeline-using-compromised-password" TargetMode="External"/><Relationship Id="rId4" Type="http://schemas.openxmlformats.org/officeDocument/2006/relationships/hyperlink" Target="https://www.wsj.com/articles/colonial-pipeline-ceo-tells-why-he-paid-hackers-a-4-4-million-ransom-11621435636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2D3EFBB-6E31-2F46-838A-1F4A47F302CE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AD4624DC-CB24-334C-B216-8178FCEFF27B}" type="slidenum">
              <a:rPr lang="en-US" altLang="en-US"/>
              <a:pPr/>
              <a:t>3</a:t>
            </a:fld>
            <a:endParaRPr lang="en-US" altLang="en-US"/>
          </a:p>
        </p:txBody>
      </p:sp>
      <p:sp>
        <p:nvSpPr>
          <p:cNvPr id="36865" name="Text Box 1">
            <a:extLst>
              <a:ext uri="{FF2B5EF4-FFF2-40B4-BE49-F238E27FC236}">
                <a16:creationId xmlns:a16="http://schemas.microsoft.com/office/drawing/2014/main" id="{A1E60490-7076-CA4E-8AF2-7027AE931756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6866" name="Text Box 2">
            <a:extLst>
              <a:ext uri="{FF2B5EF4-FFF2-40B4-BE49-F238E27FC236}">
                <a16:creationId xmlns:a16="http://schemas.microsoft.com/office/drawing/2014/main" id="{DD727F52-46E5-884D-BBFD-AB8E7E5C4D0A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4915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2D3EFBB-6E31-2F46-838A-1F4A47F302CE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AD4624DC-CB24-334C-B216-8178FCEFF27B}" type="slidenum">
              <a:rPr lang="en-US" altLang="en-US"/>
              <a:pPr/>
              <a:t>4</a:t>
            </a:fld>
            <a:endParaRPr lang="en-US" altLang="en-US"/>
          </a:p>
        </p:txBody>
      </p:sp>
      <p:sp>
        <p:nvSpPr>
          <p:cNvPr id="36865" name="Text Box 1">
            <a:extLst>
              <a:ext uri="{FF2B5EF4-FFF2-40B4-BE49-F238E27FC236}">
                <a16:creationId xmlns:a16="http://schemas.microsoft.com/office/drawing/2014/main" id="{A1E60490-7076-CA4E-8AF2-7027AE931756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6866" name="Text Box 2">
            <a:extLst>
              <a:ext uri="{FF2B5EF4-FFF2-40B4-BE49-F238E27FC236}">
                <a16:creationId xmlns:a16="http://schemas.microsoft.com/office/drawing/2014/main" id="{DD727F52-46E5-884D-BBFD-AB8E7E5C4D0A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b="0" i="0" dirty="0">
                <a:solidFill>
                  <a:srgbClr val="111940"/>
                </a:solidFill>
                <a:effectLst/>
                <a:latin typeface="SourceSansPro"/>
              </a:rPr>
              <a:t>Colonial Pipeline, for example, was </a:t>
            </a:r>
            <a:r>
              <a:rPr lang="en-US" b="0" i="0" u="sng" dirty="0">
                <a:solidFill>
                  <a:srgbClr val="0071EB"/>
                </a:solidFill>
                <a:effectLst/>
                <a:latin typeface="SourceSansPro"/>
                <a:hlinkClick r:id="rId3"/>
              </a:rPr>
              <a:t>openly searching for a cybersecurity manager</a:t>
            </a:r>
            <a:r>
              <a:rPr lang="en-US" b="0" i="0" dirty="0">
                <a:solidFill>
                  <a:srgbClr val="111940"/>
                </a:solidFill>
                <a:effectLst/>
                <a:latin typeface="SourceSansPro"/>
              </a:rPr>
              <a:t> just weeks before a massive ransomware attack forced the utility provider to temporarily shut off its fuel pipeline -- the largest fuel pipeline in the United States -- and </a:t>
            </a:r>
            <a:r>
              <a:rPr lang="en-US" b="0" i="0" u="sng" dirty="0">
                <a:solidFill>
                  <a:srgbClr val="0071EB"/>
                </a:solidFill>
                <a:effectLst/>
                <a:latin typeface="SourceSansPro"/>
                <a:hlinkClick r:id="rId4"/>
              </a:rPr>
              <a:t>pay $4.4 million</a:t>
            </a:r>
            <a:r>
              <a:rPr lang="en-US" b="0" i="0" dirty="0">
                <a:solidFill>
                  <a:srgbClr val="111940"/>
                </a:solidFill>
                <a:effectLst/>
                <a:latin typeface="SourceSansPro"/>
              </a:rPr>
              <a:t> in ransom to restore network access. Hackers stole data from a traditional file share using </a:t>
            </a:r>
            <a:r>
              <a:rPr lang="en-US" b="0" i="0" u="sng" dirty="0">
                <a:solidFill>
                  <a:srgbClr val="0071EB"/>
                </a:solidFill>
                <a:effectLst/>
                <a:latin typeface="SourceSansPro"/>
                <a:hlinkClick r:id="rId5"/>
              </a:rPr>
              <a:t>a virtual private network account</a:t>
            </a:r>
            <a:r>
              <a:rPr lang="en-US" b="0" i="0" dirty="0">
                <a:solidFill>
                  <a:srgbClr val="111940"/>
                </a:solidFill>
                <a:effectLst/>
                <a:latin typeface="SourceSansPro"/>
              </a:rPr>
              <a:t> with a compromised password that had been leaked on the dark web. The VPN account did not have multi-factor authentication (MFA) access controls in place.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58759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2D3EFBB-6E31-2F46-838A-1F4A47F302CE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AD4624DC-CB24-334C-B216-8178FCEFF27B}" type="slidenum">
              <a:rPr lang="en-US" altLang="en-US"/>
              <a:pPr/>
              <a:t>5</a:t>
            </a:fld>
            <a:endParaRPr lang="en-US" altLang="en-US"/>
          </a:p>
        </p:txBody>
      </p:sp>
      <p:sp>
        <p:nvSpPr>
          <p:cNvPr id="36865" name="Text Box 1">
            <a:extLst>
              <a:ext uri="{FF2B5EF4-FFF2-40B4-BE49-F238E27FC236}">
                <a16:creationId xmlns:a16="http://schemas.microsoft.com/office/drawing/2014/main" id="{A1E60490-7076-CA4E-8AF2-7027AE931756}"/>
              </a:ext>
            </a:extLst>
          </p:cNvPr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533400" y="763588"/>
            <a:ext cx="6705600" cy="37719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6866" name="Text Box 2">
            <a:extLst>
              <a:ext uri="{FF2B5EF4-FFF2-40B4-BE49-F238E27FC236}">
                <a16:creationId xmlns:a16="http://schemas.microsoft.com/office/drawing/2014/main" id="{DD727F52-46E5-884D-BBFD-AB8E7E5C4D0A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77875" y="4776788"/>
            <a:ext cx="6218238" cy="45259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07185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04D46FE8-3D78-3E44-AD53-578A869A96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43" t="21360" b="22206"/>
          <a:stretch/>
        </p:blipFill>
        <p:spPr>
          <a:xfrm>
            <a:off x="0" y="0"/>
            <a:ext cx="12192000" cy="4736417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1B6F7C70-DBC8-42D7-85BD-5D29092B18B4}" type="datetime2">
              <a:rPr lang="en-GB" smtClean="0"/>
              <a:t>Sunday, 17 July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AD402A-4E56-7342-B542-96A77E310708}"/>
              </a:ext>
            </a:extLst>
          </p:cNvPr>
          <p:cNvSpPr/>
          <p:nvPr userDrawn="1"/>
        </p:nvSpPr>
        <p:spPr>
          <a:xfrm>
            <a:off x="1" y="4736417"/>
            <a:ext cx="12191999" cy="282699"/>
          </a:xfrm>
          <a:prstGeom prst="rect">
            <a:avLst/>
          </a:prstGeom>
          <a:solidFill>
            <a:srgbClr val="3D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9D04B9-5608-6F46-8709-8467B4517936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rgbClr val="FF410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778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561139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Legal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A63451E-168E-47F3-AE89-78B5A1DA746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1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Legal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9783F67-5FE7-4474-94C2-8C2463AF8A2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1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1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Legal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B212132-C51C-4602-93B8-DEBC29C5F6A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Legal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2D7AC46-C15E-45F5-8511-1E8F6266C17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Legal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BD7634F6-47D0-4BCE-8239-77C7C60C4E2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Legal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392A85D-1E49-4625-A7BC-699B19155105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Legal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5829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9766064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53BA571-BC3A-45EE-99BD-AF1C516AB73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Legal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2149650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nl-NL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9D2C775-1D96-40A1-AE68-D03E3516BCA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Legal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FA6E988-0095-442F-9FDA-AA1EB3715DB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Legal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DA1CA4F-3D30-4EE9-B0A4-1346FDD53E0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LLA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170057" cy="54874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CONTENTS PAGE/SLIDE WITH NUMBERS.</a:t>
            </a:r>
          </a:p>
        </p:txBody>
      </p:sp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5364067-0CF7-4BEF-8AD0-0B0FF0684BD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638B270-13AE-4F91-B2AA-59F01A4948DB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838200" y="1825625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396277733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3612915147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INTRODUCTION. UPPERCASE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 ONLY. ORANGE.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4471679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FIRST TOPIC HERE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.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UPPERCASE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 ONLY. ORANGE.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12PT</a:t>
                      </a:r>
                      <a:endParaRPr lang="en-US" sz="1200" baseline="0" dirty="0">
                        <a:solidFill>
                          <a:schemeClr val="bg2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 dirty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 dirty="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9250479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SECOND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 TOPIC HERE.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UPPERCASE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 ONLY. ORANGE.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 dirty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89976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THIRD TOPIC HERE. UPPERCASE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 ONLY. ORANGE.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475647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FOURTH TOPIC HERE. UPPERCASE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 ONLY. ORANGE.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909287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FIFTH TOPIC HERE. UPPERCASE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 ONLY. ORANGE.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 dirty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 dirty="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  <a:endParaRPr lang="en-US" sz="10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122485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SIXTH TOPIC HERE.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UPPERCASE</a:t>
                      </a:r>
                      <a:r>
                        <a:rPr lang="en-US" sz="1200" baseline="0" dirty="0">
                          <a:solidFill>
                            <a:schemeClr val="bg2"/>
                          </a:solidFill>
                        </a:rPr>
                        <a:t> ONLY. ORANGE. 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22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624184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bg2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bg2"/>
                          </a:solidFill>
                        </a:rPr>
                        <a:t> ONLY. ORANGE. </a:t>
                      </a:r>
                      <a:r>
                        <a:rPr lang="en-US" sz="1200">
                          <a:solidFill>
                            <a:schemeClr val="bg2"/>
                          </a:solidFill>
                        </a:rPr>
                        <a:t>12PT</a:t>
                      </a:r>
                      <a:endParaRPr lang="en-US" sz="1200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bg2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9312782"/>
                  </a:ext>
                </a:extLst>
              </a:tr>
            </a:tbl>
          </a:graphicData>
        </a:graphic>
      </p:graphicFrame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Legal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9869CB8-6DA7-44A1-A500-C7DE014825FA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Legal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F2CB609-AD2A-40CD-B374-F58F393F5AC4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Legal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1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E52A9BF-3DDF-4106-B543-3B2736625D8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Legal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2562" y="3885074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D4D40B5-3398-4D9B-B97F-1F3849260834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Legal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272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21E560B-FFE7-4E7D-BB42-BBDEDCE18041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Legal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Legal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6906EA5-E414-4A5F-A260-4581543C894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Legal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6AC1C51-901C-4EF5-B627-6FCD8552A896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Legal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822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0B4F1D1-7BAB-4AEA-883B-C9941CF104E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55285000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737E841-E6BE-4765-8502-669F24BA2E86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LLA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6185B8F-05E2-4487-81D3-3F08F081411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F2C4F86-58C7-4088-926B-40DEE4F511B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3B07B07-2C50-4913-ABE0-15584A5B274E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677F32B-742A-4FE3-A460-AA6100C88E73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3B33ECA-F940-49D2-A7D9-63B60BA29F86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53536A2-08B1-4BEB-98D3-4C40C1CF0CD6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B8CFC90-7F05-4C45-90A7-02908965BBB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99BBE1B-2E92-48FF-9E0D-E44E8A61ED6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AEE147F-121A-4654-8926-1516F391743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AA953C1-7E74-497B-8DE3-449FF9446B9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F4F76EF-5044-433B-962C-E784FEFEABBE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LLA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6500AEC-0371-41AB-9766-1D170774087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B1F8595-10D1-497B-8745-00E1E124E4B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EEC8654-8C81-411B-9BAB-ED1E5F3D092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F2E182C-38E7-4019-AB10-283CF8504AA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8853184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7DC1560-C4DC-4B07-9B8B-8C47A40D756E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1031867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nl-NL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BBB3DA3-DD0E-4FDD-8900-3D62DF31B23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FCFAD7A-9DB0-4C32-81E3-C093BEEF69D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666FA4A-9A42-4116-868C-80954D852DC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BB4A408-8DA2-4CDD-B076-ADA2E6B1A54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C94D27D-8FB9-4C99-8B4B-C7A1079261C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84B2E7E-88C3-4C8C-8559-A065CE7A00E1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LLA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6A9B621-D2A8-4769-ABF6-6656F6E08846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2562" y="3885074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BFA0C1E1-9501-4171-BDBE-39C11C2C885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4D68D22-1A6E-4645-B36E-64E46AC999F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D6170CE-5014-4E67-83FA-180A46BF30E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0F18F6F-64F5-4C80-AC7C-4D65BE3A897D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2DF0114-4F92-41AB-8BA6-B4FFC4F9378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LLA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D53858A-5635-4D8D-B413-8B818614A1B5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LLA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81277B4-C532-47EA-8E1F-1BCA7172CE2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LLA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197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bg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accent5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2B06A15-FBF0-4EFE-80BB-BA31BCC9B87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LLA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145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CCDD0CCF-CB40-4AE2-A21F-291A6D320B5A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LLA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E6C2EF6-DCEF-4329-82D9-818B03A3E805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bg2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1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Slide - Market Op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252CE78-9AE9-AE48-B22F-E7ABF1FD3B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" t="13544" r="242" b="30782"/>
          <a:stretch/>
        </p:blipFill>
        <p:spPr>
          <a:xfrm>
            <a:off x="-6927" y="0"/>
            <a:ext cx="12198927" cy="472441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D8B213EC-5F03-4FE2-A4A3-F767EABF5138}" type="datetime2">
              <a:rPr lang="en-GB" smtClean="0"/>
              <a:t>Sunday, 17 July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pic>
        <p:nvPicPr>
          <p:cNvPr id="57" name="Picture 56"/>
          <p:cNvPicPr>
            <a:picLocks noChangeAspect="1"/>
          </p:cNvPicPr>
          <p:nvPr userDrawn="1"/>
        </p:nvPicPr>
        <p:blipFill rotWithShape="1"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ED1914F-292A-324B-A553-05BCA789D84D}"/>
              </a:ext>
            </a:extLst>
          </p:cNvPr>
          <p:cNvSpPr/>
          <p:nvPr userDrawn="1"/>
        </p:nvSpPr>
        <p:spPr>
          <a:xfrm>
            <a:off x="1" y="4736417"/>
            <a:ext cx="12191999" cy="282699"/>
          </a:xfrm>
          <a:prstGeom prst="rect">
            <a:avLst/>
          </a:prstGeom>
          <a:solidFill>
            <a:srgbClr val="3D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C24C7A5-B4CE-EE42-94F1-15425B6E927F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rgbClr val="FF410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LLA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3961B34-B6E2-4483-9606-E503453D3F53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bg2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1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5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rgbClr val="FFC000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LLA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1310CA4-3DB2-49E9-B745-C7F0B19BEEC4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LLA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19688"/>
            <a:ext cx="9966660" cy="62318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FE16DB2-9CA4-4B96-82D7-E5D48A3AD90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LLA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C333F8B-4325-4B90-AB60-30777502FB3D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LLA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CF9CAD6-9BCB-4157-A51B-C636CD3A9B6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LLA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6397837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8D3C121-006C-48EB-BD69-44170CF0637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LLA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114223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nl-NL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5B42C3A-31E7-4A1A-ACCB-16E4B4150BF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LLA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C722930-EF3B-46D6-851B-6E1BFD93FFD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LLA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5BA1889-BDBD-469B-9F4C-E7FF1EF2BC8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LLA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AAC25B7-F9AA-43BC-8650-33DB07724671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371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LLA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8FB058E-D230-4D81-925F-1E781DFD5266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LLA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2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1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bg2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5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rgbClr val="FFC000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E133800-4E43-4603-AEE3-0E7CE5D5A703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LLA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2562" y="3885074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5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5825" y="1472868"/>
            <a:ext cx="1739900" cy="1189037"/>
          </a:xfrm>
          <a:prstGeom prst="ellipse">
            <a:avLst/>
          </a:prstGeom>
          <a:solidFill>
            <a:schemeClr val="bg2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C0E6450-9EAB-4177-BCFB-B03CBEE28A43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LLA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272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F0BCA29-1DD8-44FC-8324-B59D305A018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LLA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7. LLA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678EDB7-58B7-47F2-9D17-8F2E84C30ED2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LLA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939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3B0A050-9D0E-4FF3-A05B-9D61FB5AB0A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LLA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822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0064214-A31D-4444-B257-1DD5BBC274D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HR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7193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72691002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2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2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1F111FB-2F00-4B6E-9052-9139C29FCED1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R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2573AF0-4C32-438E-9164-7A5E41EA398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C1EE96F7-F53C-438D-BAB2-4A05179E3300}" type="datetime2">
              <a:rPr lang="en-GB" smtClean="0"/>
              <a:t>Sunday, 17 July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GENERAL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GENERAL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97" name="Straight Connector 96"/>
          <p:cNvCxnSpPr/>
          <p:nvPr userDrawn="1"/>
        </p:nvCxnSpPr>
        <p:spPr>
          <a:xfrm>
            <a:off x="0" y="4800050"/>
            <a:ext cx="12191999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B4A2688-3D10-2140-8033-815A7D152681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HR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E2A45F1-2D89-43D3-BBE2-B1BBD0009BA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HR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77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13AB994-8AC4-4BDD-B3E5-DD63C75141F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HR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B053B38-AFE3-4ED8-AD79-A26F0D65AE0A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HR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0093555-3ACF-48C8-BFF0-7F24D014E1A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HR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197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2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2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E219088-5A6E-4A17-8749-53702ACF2D1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HR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79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ED04430-60E9-4398-9E4E-81FA2D1E1AB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37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HR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0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DC64485-7E1F-4A28-847C-8F31B897A376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HR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77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F73A773-3CB7-457C-87AB-6742F698B3F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HR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3040C23-3C58-4A8B-8ED4-9E4116C80605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HR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EF7893D-0926-4FC3-AE14-D2B596129DC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R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506BDE7-0C5F-4CB4-BE60-18F8AC41A9C5}" type="datetime2">
              <a:rPr lang="en-GB" smtClean="0"/>
              <a:t>Sunday, 17 July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HR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HR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9CDC156-4F97-C54B-AFE5-83D7FF28D679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HR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F70FBDA-24FD-41A8-ACCF-C4FD36D3534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HR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1ABB4FF-1BB0-4768-8033-F886F0C29DEB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HR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713722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C665918-C0C8-4054-A483-C98E212C40B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HR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159814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nl-NL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469E07D-0E10-46E9-BBCD-55AAE0DE883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HR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56233"/>
            <a:ext cx="9966660" cy="5866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00B52BA-295B-4560-AFF5-36E941D2AA1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HR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5CDB2EC-562E-4048-AF7A-E92AB77A0FC1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HR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FFCE2F6-359E-4900-8038-439863E7EE4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HR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150D88C-0ACF-4F83-AD24-202E25BDD51E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HR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47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2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EB263DA-7E4A-4305-A97C-28EE999CF7D4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HR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648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2562" y="3885074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BDEB0EAF-3485-4F5D-8E72-27D3914C6922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Financ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5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403EA6B7-45FD-4155-AB17-92B3B68D2BDF}" type="datetime2">
              <a:rPr lang="en-GB" smtClean="0"/>
              <a:t>Sunday, 17 July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INANCE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INANCE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6BB4911-9116-3242-B9C1-26D2A0AD2775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HR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272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D23E043-BC9D-4E90-A4E2-D9DF3A9DE9CD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HR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52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H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77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DC51861-2D92-42D9-BC5E-89A4377680A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HR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891D3A5-DDA8-430A-A5C4-E0CB2A3D9F7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HR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822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007EA24-CB9E-46C3-AA48-AA8A65D08CB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Finance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812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69806085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ONLY. GREEN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ONLY. GREEN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5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ONLY. GREEN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ONLY. GREEN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ONLY. GREEN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ONLY. GREEN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ONLY. GREEN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5"/>
                          </a:solidFill>
                        </a:rPr>
                        <a:t> ONLY. GREEN. </a:t>
                      </a:r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5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11F055F-D11B-41B9-8B95-D8550459753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Finance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31E874C-9EC0-4F9D-8894-1AF91A43B6C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Finance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2177893-4F38-45F0-A90E-6C01E413520E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Finance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64CAF98-C02A-4496-8A16-899123CF10BC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Finance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4BF2EA6-F860-4FB6-9388-E27FCABAE61F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Legal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accent1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59B5EDA2-0DF4-4F7B-9143-42DB11B97928}" type="datetime2">
              <a:rPr lang="en-GB" smtClean="0"/>
              <a:t>Sunday, 17 July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LEGAL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LEGAL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A1AB0E0-652A-2144-8337-E87A9A361265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Finance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582ACEE-0EFF-4033-8431-15B80F491995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Finance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5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5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5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C90BB7E-73A5-4B1D-93D5-9437D5F1311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Finance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79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91FB6163-1390-49CB-A40F-6EF8D77C65C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37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5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Finance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A706D06-29F8-4C87-B920-2C74DEF23FFE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5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Finance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85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5E909CE-2B6B-4F25-854C-058B417D7024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5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5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Finance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A1912C1-33F3-41BA-994B-E040D55082B6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Finance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9726A5F-A2EC-4151-850B-037D8D2955D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Finance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ECDAFAC-1A69-43CE-9113-04CE172EDDE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Finance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A9FD358-6254-4DF2-9CE6-618BD41F807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Finance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383175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B90BFBB-0D02-4CC5-8A7B-C85D3FCF092A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1999" cy="4733453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CE85F035-23FD-4617-B332-1F8E9C79D58B}" type="datetime2">
              <a:rPr lang="en-GB" smtClean="0"/>
              <a:t>Sunday, 17 July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STRATEGY DIVIDER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STRATEGY DIVIDER SUB HEADING | UPPERCASE ONLY | 18PT</a:t>
            </a:r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 rotWithShape="1">
          <a:blip r:embed="rId2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35" r="55556"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2DEF681-AE5A-1F42-875A-BD1F13CD7DDB}"/>
              </a:ext>
            </a:extLst>
          </p:cNvPr>
          <p:cNvCxnSpPr/>
          <p:nvPr userDrawn="1"/>
        </p:nvCxnSpPr>
        <p:spPr>
          <a:xfrm>
            <a:off x="0" y="4722327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Finance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0777326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nl-NL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C7B8C75-8EAB-4BC1-A6AE-25D61626F121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Finance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91C9072-00E4-46EE-8DF7-72FFB0F280A4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Finance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D9B075-6250-420A-8434-805D00587088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Finance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08AD520-197C-4F8F-AB88-1367D83DE3BE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Finance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C1F39F9-1910-40C0-8737-9AB655A7213D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Finance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28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5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5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5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556CF39-523A-42C7-8100-680762397F6A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Finance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648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52562" y="3885074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5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214CC7D-D8B2-4E57-9F61-D4A6EC8C99C7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Finance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272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7FFA50A-D3E1-4423-B8F5-802FE906F233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Finance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66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Finance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7D77B0D-EDFF-4334-804F-81F7C80F85B3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107BC5D-1882-4401-8BAE-985BEDC96D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1662" y="2559826"/>
            <a:ext cx="1507318" cy="1400262"/>
          </a:xfrm>
          <a:custGeom>
            <a:avLst/>
            <a:gdLst>
              <a:gd name="connsiteX0" fmla="*/ 1717514 w 3013851"/>
              <a:gd name="connsiteY0" fmla="*/ 1021 h 2800524"/>
              <a:gd name="connsiteX1" fmla="*/ 1845076 w 3013851"/>
              <a:gd name="connsiteY1" fmla="*/ 15397 h 2800524"/>
              <a:gd name="connsiteX2" fmla="*/ 2462859 w 3013851"/>
              <a:gd name="connsiteY2" fmla="*/ 125018 h 2800524"/>
              <a:gd name="connsiteX3" fmla="*/ 2606095 w 3013851"/>
              <a:gd name="connsiteY3" fmla="*/ 172355 h 2800524"/>
              <a:gd name="connsiteX4" fmla="*/ 2721929 w 3013851"/>
              <a:gd name="connsiteY4" fmla="*/ 310627 h 2800524"/>
              <a:gd name="connsiteX5" fmla="*/ 2993454 w 3013851"/>
              <a:gd name="connsiteY5" fmla="*/ 903579 h 2800524"/>
              <a:gd name="connsiteX6" fmla="*/ 2274784 w 3013851"/>
              <a:gd name="connsiteY6" fmla="*/ 2394678 h 2800524"/>
              <a:gd name="connsiteX7" fmla="*/ 1483873 w 3013851"/>
              <a:gd name="connsiteY7" fmla="*/ 2798284 h 2800524"/>
              <a:gd name="connsiteX8" fmla="*/ 1072848 w 3013851"/>
              <a:gd name="connsiteY8" fmla="*/ 2755930 h 2800524"/>
              <a:gd name="connsiteX9" fmla="*/ 67706 w 3013851"/>
              <a:gd name="connsiteY9" fmla="*/ 2141802 h 2800524"/>
              <a:gd name="connsiteX10" fmla="*/ 4184 w 3013851"/>
              <a:gd name="connsiteY10" fmla="*/ 1556324 h 2800524"/>
              <a:gd name="connsiteX11" fmla="*/ 161121 w 3013851"/>
              <a:gd name="connsiteY11" fmla="*/ 780255 h 2800524"/>
              <a:gd name="connsiteX12" fmla="*/ 851144 w 3013851"/>
              <a:gd name="connsiteY12" fmla="*/ 240868 h 2800524"/>
              <a:gd name="connsiteX13" fmla="*/ 1717514 w 3013851"/>
              <a:gd name="connsiteY13" fmla="*/ 1021 h 2800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13851" h="2800524">
                <a:moveTo>
                  <a:pt x="1717514" y="1021"/>
                </a:moveTo>
                <a:cubicBezTo>
                  <a:pt x="1760030" y="2940"/>
                  <a:pt x="1802573" y="7612"/>
                  <a:pt x="1845076" y="15397"/>
                </a:cubicBezTo>
                <a:cubicBezTo>
                  <a:pt x="1845076" y="15397"/>
                  <a:pt x="2237418" y="80173"/>
                  <a:pt x="2462859" y="125018"/>
                </a:cubicBezTo>
                <a:cubicBezTo>
                  <a:pt x="2512680" y="134984"/>
                  <a:pt x="2562501" y="144950"/>
                  <a:pt x="2606095" y="172355"/>
                </a:cubicBezTo>
                <a:cubicBezTo>
                  <a:pt x="2657161" y="204743"/>
                  <a:pt x="2690791" y="258308"/>
                  <a:pt x="2721929" y="310627"/>
                </a:cubicBezTo>
                <a:cubicBezTo>
                  <a:pt x="2836518" y="497482"/>
                  <a:pt x="2949861" y="690565"/>
                  <a:pt x="2993454" y="903579"/>
                </a:cubicBezTo>
                <a:cubicBezTo>
                  <a:pt x="3109289" y="1471617"/>
                  <a:pt x="2713210" y="2015986"/>
                  <a:pt x="2274784" y="2394678"/>
                </a:cubicBezTo>
                <a:cubicBezTo>
                  <a:pt x="2046852" y="2592744"/>
                  <a:pt x="1784045" y="2775861"/>
                  <a:pt x="1483873" y="2798284"/>
                </a:cubicBezTo>
                <a:cubicBezTo>
                  <a:pt x="1346865" y="2808249"/>
                  <a:pt x="1208611" y="2783335"/>
                  <a:pt x="1072848" y="2755930"/>
                </a:cubicBezTo>
                <a:cubicBezTo>
                  <a:pt x="673033" y="2673714"/>
                  <a:pt x="225888" y="2519248"/>
                  <a:pt x="67706" y="2141802"/>
                </a:cubicBezTo>
                <a:cubicBezTo>
                  <a:pt x="-9517" y="1958684"/>
                  <a:pt x="-3289" y="1753144"/>
                  <a:pt x="4184" y="1556324"/>
                </a:cubicBezTo>
                <a:cubicBezTo>
                  <a:pt x="14148" y="1289745"/>
                  <a:pt x="27849" y="1010709"/>
                  <a:pt x="161121" y="780255"/>
                </a:cubicBezTo>
                <a:cubicBezTo>
                  <a:pt x="310584" y="523641"/>
                  <a:pt x="584601" y="369175"/>
                  <a:pt x="851144" y="240868"/>
                </a:cubicBezTo>
                <a:cubicBezTo>
                  <a:pt x="1123603" y="108980"/>
                  <a:pt x="1419903" y="-12417"/>
                  <a:pt x="1717514" y="1021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vert="horz" wrap="square" lIns="182843" tIns="91422" rIns="182843" bIns="91422" rtlCol="0" anchor="ctr">
            <a:noAutofit/>
          </a:bodyPr>
          <a:lstStyle>
            <a:lvl1pPr>
              <a:defRPr lang="en-US" sz="1200" dirty="0"/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533CF44-8B35-4030-BF66-754DE431F3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75819" y="2517546"/>
            <a:ext cx="1525692" cy="1488167"/>
          </a:xfrm>
          <a:custGeom>
            <a:avLst/>
            <a:gdLst>
              <a:gd name="connsiteX0" fmla="*/ 863844 w 3050590"/>
              <a:gd name="connsiteY0" fmla="*/ 1155 h 2976334"/>
              <a:gd name="connsiteX1" fmla="*/ 1542655 w 3050590"/>
              <a:gd name="connsiteY1" fmla="*/ 111558 h 2976334"/>
              <a:gd name="connsiteX2" fmla="*/ 2828803 w 3050590"/>
              <a:gd name="connsiteY2" fmla="*/ 1020016 h 2976334"/>
              <a:gd name="connsiteX3" fmla="*/ 2806392 w 3050590"/>
              <a:gd name="connsiteY3" fmla="*/ 2522897 h 2976334"/>
              <a:gd name="connsiteX4" fmla="*/ 1937339 w 3050590"/>
              <a:gd name="connsiteY4" fmla="*/ 2966534 h 2976334"/>
              <a:gd name="connsiteX5" fmla="*/ 956232 w 3050590"/>
              <a:gd name="connsiteY5" fmla="*/ 2821978 h 2976334"/>
              <a:gd name="connsiteX6" fmla="*/ 505520 w 3050590"/>
              <a:gd name="connsiteY6" fmla="*/ 2586452 h 2976334"/>
              <a:gd name="connsiteX7" fmla="*/ 42357 w 3050590"/>
              <a:gd name="connsiteY7" fmla="*/ 1679240 h 2976334"/>
              <a:gd name="connsiteX8" fmla="*/ 25 w 3050590"/>
              <a:gd name="connsiteY8" fmla="*/ 626226 h 2976334"/>
              <a:gd name="connsiteX9" fmla="*/ 637496 w 3050590"/>
              <a:gd name="connsiteY9" fmla="*/ 31803 h 2976334"/>
              <a:gd name="connsiteX10" fmla="*/ 863844 w 3050590"/>
              <a:gd name="connsiteY10" fmla="*/ 1155 h 2976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50590" h="2976334">
                <a:moveTo>
                  <a:pt x="863844" y="1155"/>
                </a:moveTo>
                <a:cubicBezTo>
                  <a:pt x="1091866" y="-8308"/>
                  <a:pt x="1323214" y="41461"/>
                  <a:pt x="1542655" y="111558"/>
                </a:cubicBezTo>
                <a:cubicBezTo>
                  <a:pt x="2051885" y="274806"/>
                  <a:pt x="2543684" y="565164"/>
                  <a:pt x="2828803" y="1020016"/>
                </a:cubicBezTo>
                <a:cubicBezTo>
                  <a:pt x="3112676" y="1472376"/>
                  <a:pt x="3143803" y="2106676"/>
                  <a:pt x="2806392" y="2522897"/>
                </a:cubicBezTo>
                <a:cubicBezTo>
                  <a:pt x="2595976" y="2782101"/>
                  <a:pt x="2269770" y="2930395"/>
                  <a:pt x="1937339" y="2966534"/>
                </a:cubicBezTo>
                <a:cubicBezTo>
                  <a:pt x="1606153" y="3002673"/>
                  <a:pt x="1269987" y="2935380"/>
                  <a:pt x="956232" y="2821978"/>
                </a:cubicBezTo>
                <a:cubicBezTo>
                  <a:pt x="796864" y="2764654"/>
                  <a:pt x="638741" y="2693623"/>
                  <a:pt x="505520" y="2586452"/>
                </a:cubicBezTo>
                <a:cubicBezTo>
                  <a:pt x="232852" y="2369618"/>
                  <a:pt x="87180" y="2023183"/>
                  <a:pt x="42357" y="1679240"/>
                </a:cubicBezTo>
                <a:cubicBezTo>
                  <a:pt x="-2465" y="1332805"/>
                  <a:pt x="25" y="626226"/>
                  <a:pt x="25" y="626226"/>
                </a:cubicBezTo>
                <a:cubicBezTo>
                  <a:pt x="62278" y="325899"/>
                  <a:pt x="338682" y="102835"/>
                  <a:pt x="637496" y="31803"/>
                </a:cubicBezTo>
                <a:cubicBezTo>
                  <a:pt x="712200" y="14045"/>
                  <a:pt x="787837" y="4309"/>
                  <a:pt x="863844" y="1155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vert="horz" wrap="square" lIns="182843" tIns="91422" rIns="182843" bIns="91422" rtlCol="0" anchor="ctr">
            <a:noAutofit/>
          </a:bodyPr>
          <a:lstStyle>
            <a:lvl1pPr>
              <a:defRPr lang="en-US" sz="1200" dirty="0"/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B47EAD5-7036-4940-B24B-BA31C70D9ED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29742" y="2551548"/>
            <a:ext cx="1519813" cy="1422655"/>
          </a:xfrm>
          <a:custGeom>
            <a:avLst/>
            <a:gdLst>
              <a:gd name="connsiteX0" fmla="*/ 1341098 w 3038834"/>
              <a:gd name="connsiteY0" fmla="*/ 108 h 2845309"/>
              <a:gd name="connsiteX1" fmla="*/ 2921188 w 3038834"/>
              <a:gd name="connsiteY1" fmla="*/ 882732 h 2845309"/>
              <a:gd name="connsiteX2" fmla="*/ 3032006 w 3038834"/>
              <a:gd name="connsiteY2" fmla="*/ 1150776 h 2845309"/>
              <a:gd name="connsiteX3" fmla="*/ 3022045 w 3038834"/>
              <a:gd name="connsiteY3" fmla="*/ 1433780 h 2845309"/>
              <a:gd name="connsiteX4" fmla="*/ 2797918 w 3038834"/>
              <a:gd name="connsiteY4" fmla="*/ 2206744 h 2845309"/>
              <a:gd name="connsiteX5" fmla="*/ 1714639 w 3038834"/>
              <a:gd name="connsiteY5" fmla="*/ 2842568 h 2845309"/>
              <a:gd name="connsiteX6" fmla="*/ 501865 w 3038834"/>
              <a:gd name="connsiteY6" fmla="*/ 2438633 h 2845309"/>
              <a:gd name="connsiteX7" fmla="*/ 42406 w 3038834"/>
              <a:gd name="connsiteY7" fmla="*/ 1855170 h 2845309"/>
              <a:gd name="connsiteX8" fmla="*/ 240384 w 3038834"/>
              <a:gd name="connsiteY8" fmla="*/ 764294 h 2845309"/>
              <a:gd name="connsiteX9" fmla="*/ 1215335 w 3038834"/>
              <a:gd name="connsiteY9" fmla="*/ 6291 h 2845309"/>
              <a:gd name="connsiteX10" fmla="*/ 1341098 w 3038834"/>
              <a:gd name="connsiteY10" fmla="*/ 108 h 284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38834" h="2845309">
                <a:moveTo>
                  <a:pt x="1341098" y="108"/>
                </a:moveTo>
                <a:cubicBezTo>
                  <a:pt x="1970255" y="-7014"/>
                  <a:pt x="2597839" y="339242"/>
                  <a:pt x="2921188" y="882732"/>
                </a:cubicBezTo>
                <a:cubicBezTo>
                  <a:pt x="2972239" y="966262"/>
                  <a:pt x="3015819" y="1054779"/>
                  <a:pt x="3032006" y="1150776"/>
                </a:cubicBezTo>
                <a:cubicBezTo>
                  <a:pt x="3046948" y="1245526"/>
                  <a:pt x="3034496" y="1340276"/>
                  <a:pt x="3022045" y="1433780"/>
                </a:cubicBezTo>
                <a:cubicBezTo>
                  <a:pt x="2983445" y="1701824"/>
                  <a:pt x="2933639" y="1972361"/>
                  <a:pt x="2797918" y="2206744"/>
                </a:cubicBezTo>
                <a:cubicBezTo>
                  <a:pt x="2578772" y="2583252"/>
                  <a:pt x="2149196" y="2815141"/>
                  <a:pt x="1714639" y="2842568"/>
                </a:cubicBezTo>
                <a:cubicBezTo>
                  <a:pt x="1281328" y="2868749"/>
                  <a:pt x="846771" y="2705430"/>
                  <a:pt x="501865" y="2438633"/>
                </a:cubicBezTo>
                <a:cubicBezTo>
                  <a:pt x="303887" y="2285287"/>
                  <a:pt x="127076" y="2092046"/>
                  <a:pt x="42406" y="1855170"/>
                </a:cubicBezTo>
                <a:cubicBezTo>
                  <a:pt x="-88335" y="1493622"/>
                  <a:pt x="113379" y="1127088"/>
                  <a:pt x="240384" y="764294"/>
                </a:cubicBezTo>
                <a:cubicBezTo>
                  <a:pt x="495639" y="31225"/>
                  <a:pt x="1215335" y="6291"/>
                  <a:pt x="1215335" y="6291"/>
                </a:cubicBezTo>
                <a:cubicBezTo>
                  <a:pt x="1257203" y="2629"/>
                  <a:pt x="1299154" y="583"/>
                  <a:pt x="1341098" y="108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vert="horz" wrap="square" lIns="182843" tIns="91422" rIns="182843" bIns="91422" rtlCol="0" anchor="ctr">
            <a:noAutofit/>
          </a:bodyPr>
          <a:lstStyle>
            <a:lvl1pPr>
              <a:defRPr lang="en-US" sz="1200" dirty="0"/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066B3B-C3D2-499B-9EB5-8D2B350D33B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88928" y="2559826"/>
            <a:ext cx="1507586" cy="1400262"/>
          </a:xfrm>
          <a:custGeom>
            <a:avLst/>
            <a:gdLst>
              <a:gd name="connsiteX0" fmla="*/ 1717532 w 3014386"/>
              <a:gd name="connsiteY0" fmla="*/ 1021 h 2800524"/>
              <a:gd name="connsiteX1" fmla="*/ 1845143 w 3014386"/>
              <a:gd name="connsiteY1" fmla="*/ 15397 h 2800524"/>
              <a:gd name="connsiteX2" fmla="*/ 2464417 w 3014386"/>
              <a:gd name="connsiteY2" fmla="*/ 125018 h 2800524"/>
              <a:gd name="connsiteX3" fmla="*/ 2606465 w 3014386"/>
              <a:gd name="connsiteY3" fmla="*/ 172355 h 2800524"/>
              <a:gd name="connsiteX4" fmla="*/ 2723591 w 3014386"/>
              <a:gd name="connsiteY4" fmla="*/ 310627 h 2800524"/>
              <a:gd name="connsiteX5" fmla="*/ 2993979 w 3014386"/>
              <a:gd name="connsiteY5" fmla="*/ 903579 h 2800524"/>
              <a:gd name="connsiteX6" fmla="*/ 2276269 w 3014386"/>
              <a:gd name="connsiteY6" fmla="*/ 2394678 h 2800524"/>
              <a:gd name="connsiteX7" fmla="*/ 1485041 w 3014386"/>
              <a:gd name="connsiteY7" fmla="*/ 2798284 h 2800524"/>
              <a:gd name="connsiteX8" fmla="*/ 1073852 w 3014386"/>
              <a:gd name="connsiteY8" fmla="*/ 2755930 h 2800524"/>
              <a:gd name="connsiteX9" fmla="*/ 67063 w 3014386"/>
              <a:gd name="connsiteY9" fmla="*/ 2141802 h 2800524"/>
              <a:gd name="connsiteX10" fmla="*/ 4761 w 3014386"/>
              <a:gd name="connsiteY10" fmla="*/ 1556324 h 2800524"/>
              <a:gd name="connsiteX11" fmla="*/ 161761 w 3014386"/>
              <a:gd name="connsiteY11" fmla="*/ 780255 h 2800524"/>
              <a:gd name="connsiteX12" fmla="*/ 852059 w 3014386"/>
              <a:gd name="connsiteY12" fmla="*/ 240868 h 2800524"/>
              <a:gd name="connsiteX13" fmla="*/ 1717532 w 3014386"/>
              <a:gd name="connsiteY13" fmla="*/ 1021 h 2800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14386" h="2800524">
                <a:moveTo>
                  <a:pt x="1717532" y="1021"/>
                </a:moveTo>
                <a:cubicBezTo>
                  <a:pt x="1760063" y="2940"/>
                  <a:pt x="1802622" y="7612"/>
                  <a:pt x="1845143" y="15397"/>
                </a:cubicBezTo>
                <a:cubicBezTo>
                  <a:pt x="1845143" y="15397"/>
                  <a:pt x="2237641" y="80173"/>
                  <a:pt x="2464417" y="125018"/>
                </a:cubicBezTo>
                <a:cubicBezTo>
                  <a:pt x="2513013" y="134984"/>
                  <a:pt x="2564101" y="144950"/>
                  <a:pt x="2606465" y="172355"/>
                </a:cubicBezTo>
                <a:cubicBezTo>
                  <a:pt x="2657553" y="204743"/>
                  <a:pt x="2692441" y="258308"/>
                  <a:pt x="2723591" y="310627"/>
                </a:cubicBezTo>
                <a:cubicBezTo>
                  <a:pt x="2836981" y="497482"/>
                  <a:pt x="2950369" y="690565"/>
                  <a:pt x="2993979" y="903579"/>
                </a:cubicBezTo>
                <a:cubicBezTo>
                  <a:pt x="3109861" y="1471617"/>
                  <a:pt x="2713623" y="2015986"/>
                  <a:pt x="2276269" y="2394678"/>
                </a:cubicBezTo>
                <a:cubicBezTo>
                  <a:pt x="2048245" y="2592744"/>
                  <a:pt x="1785333" y="2775861"/>
                  <a:pt x="1485041" y="2798284"/>
                </a:cubicBezTo>
                <a:cubicBezTo>
                  <a:pt x="1346732" y="2808249"/>
                  <a:pt x="1209669" y="2783335"/>
                  <a:pt x="1073852" y="2755930"/>
                </a:cubicBezTo>
                <a:cubicBezTo>
                  <a:pt x="672632" y="2673714"/>
                  <a:pt x="226554" y="2519248"/>
                  <a:pt x="67063" y="2141802"/>
                </a:cubicBezTo>
                <a:cubicBezTo>
                  <a:pt x="-8945" y="1958684"/>
                  <a:pt x="-3961" y="1753144"/>
                  <a:pt x="4761" y="1556324"/>
                </a:cubicBezTo>
                <a:cubicBezTo>
                  <a:pt x="14730" y="1289745"/>
                  <a:pt x="27190" y="1010709"/>
                  <a:pt x="161761" y="780255"/>
                </a:cubicBezTo>
                <a:cubicBezTo>
                  <a:pt x="310038" y="523641"/>
                  <a:pt x="585410" y="369175"/>
                  <a:pt x="852059" y="240868"/>
                </a:cubicBezTo>
                <a:cubicBezTo>
                  <a:pt x="1123537" y="108980"/>
                  <a:pt x="1419819" y="-12417"/>
                  <a:pt x="1717532" y="1021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vert="horz" wrap="square" lIns="182843" tIns="91422" rIns="182843" bIns="91422" rtlCol="0" anchor="ctr">
            <a:noAutofit/>
          </a:bodyPr>
          <a:lstStyle>
            <a:lvl1pPr>
              <a:defRPr lang="en-US" sz="1200" dirty="0"/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2E8ED6D-1A62-4B19-A005-8A6E304022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443965" y="2517546"/>
            <a:ext cx="1525329" cy="1488167"/>
          </a:xfrm>
          <a:custGeom>
            <a:avLst/>
            <a:gdLst>
              <a:gd name="connsiteX0" fmla="*/ 863373 w 3049864"/>
              <a:gd name="connsiteY0" fmla="*/ 1155 h 2976334"/>
              <a:gd name="connsiteX1" fmla="*/ 1542709 w 3049864"/>
              <a:gd name="connsiteY1" fmla="*/ 111558 h 2976334"/>
              <a:gd name="connsiteX2" fmla="*/ 2827613 w 3049864"/>
              <a:gd name="connsiteY2" fmla="*/ 1020016 h 2976334"/>
              <a:gd name="connsiteX3" fmla="*/ 2805201 w 3049864"/>
              <a:gd name="connsiteY3" fmla="*/ 2522897 h 2976334"/>
              <a:gd name="connsiteX4" fmla="*/ 1937393 w 3049864"/>
              <a:gd name="connsiteY4" fmla="*/ 2966534 h 2976334"/>
              <a:gd name="connsiteX5" fmla="*/ 956285 w 3049864"/>
              <a:gd name="connsiteY5" fmla="*/ 2821978 h 2976334"/>
              <a:gd name="connsiteX6" fmla="*/ 504327 w 3049864"/>
              <a:gd name="connsiteY6" fmla="*/ 2586452 h 2976334"/>
              <a:gd name="connsiteX7" fmla="*/ 41165 w 3049864"/>
              <a:gd name="connsiteY7" fmla="*/ 1679240 h 2976334"/>
              <a:gd name="connsiteX8" fmla="*/ 77 w 3049864"/>
              <a:gd name="connsiteY8" fmla="*/ 626226 h 2976334"/>
              <a:gd name="connsiteX9" fmla="*/ 637549 w 3049864"/>
              <a:gd name="connsiteY9" fmla="*/ 31803 h 2976334"/>
              <a:gd name="connsiteX10" fmla="*/ 863373 w 3049864"/>
              <a:gd name="connsiteY10" fmla="*/ 1155 h 2976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49864" h="2976334">
                <a:moveTo>
                  <a:pt x="863373" y="1155"/>
                </a:moveTo>
                <a:cubicBezTo>
                  <a:pt x="1091219" y="-8308"/>
                  <a:pt x="1323267" y="41461"/>
                  <a:pt x="1542709" y="111558"/>
                </a:cubicBezTo>
                <a:cubicBezTo>
                  <a:pt x="2053185" y="274806"/>
                  <a:pt x="2542493" y="565164"/>
                  <a:pt x="2827613" y="1020016"/>
                </a:cubicBezTo>
                <a:cubicBezTo>
                  <a:pt x="3112733" y="1472376"/>
                  <a:pt x="3142613" y="2106676"/>
                  <a:pt x="2805201" y="2522897"/>
                </a:cubicBezTo>
                <a:cubicBezTo>
                  <a:pt x="2596031" y="2782101"/>
                  <a:pt x="2268581" y="2930395"/>
                  <a:pt x="1937393" y="2966534"/>
                </a:cubicBezTo>
                <a:cubicBezTo>
                  <a:pt x="1606207" y="3002673"/>
                  <a:pt x="1270041" y="2935380"/>
                  <a:pt x="956285" y="2821978"/>
                </a:cubicBezTo>
                <a:cubicBezTo>
                  <a:pt x="796917" y="2764654"/>
                  <a:pt x="637549" y="2693623"/>
                  <a:pt x="504327" y="2586452"/>
                </a:cubicBezTo>
                <a:cubicBezTo>
                  <a:pt x="231659" y="2369618"/>
                  <a:pt x="87231" y="2023183"/>
                  <a:pt x="41165" y="1679240"/>
                </a:cubicBezTo>
                <a:cubicBezTo>
                  <a:pt x="-3659" y="1332805"/>
                  <a:pt x="77" y="626226"/>
                  <a:pt x="77" y="626226"/>
                </a:cubicBezTo>
                <a:cubicBezTo>
                  <a:pt x="61085" y="325899"/>
                  <a:pt x="338735" y="102835"/>
                  <a:pt x="637549" y="31803"/>
                </a:cubicBezTo>
                <a:cubicBezTo>
                  <a:pt x="711941" y="14045"/>
                  <a:pt x="787423" y="4309"/>
                  <a:pt x="863373" y="1155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vert="horz" wrap="square" lIns="182843" tIns="91422" rIns="182843" bIns="91422" rtlCol="0" anchor="ctr">
            <a:noAutofit/>
          </a:bodyPr>
          <a:lstStyle>
            <a:lvl1pPr>
              <a:defRPr lang="en-US" sz="1200" dirty="0"/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993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Finance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2359174-595F-44A5-B463-3C10FAA583F9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Finance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822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ADC95C8-83EA-475F-BCA3-863FAB198831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5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Legal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60357707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ONLY. BLU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ONLY. BLU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1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ONLY. BLU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ONLY. BLU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ONLY. BLU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ONLY. BLU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ONLY. BLU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1"/>
                          </a:solidFill>
                        </a:rPr>
                        <a:t> ONLY. BLUE. </a:t>
                      </a:r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1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79A3749-CE81-46F2-B672-763DC9D077E6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Legal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E0B3942-5457-47D2-83CD-749400D2B2E0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Legal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0788830-4C9F-49FE-AD7D-F1EDE104B275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Legal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A783E5E-8E57-4ACA-B3E9-A233378AD023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Legal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EBE75E1-5E83-4F95-9548-D46890155271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Legal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457C1015-FB1D-4703-B174-1967F8D612EA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Legal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220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1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1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06BB757-0EC0-4BB4-8B72-713D45E91303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Legal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145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3997D51-3846-4A2C-99F5-51FC0AF27051}" type="datetime2">
              <a:rPr lang="en-GB" sz="800" smtClean="0"/>
              <a:t>Sunday, 17 July 2022</a:t>
            </a:fld>
            <a:r>
              <a:rPr lang="en-GB" sz="800"/>
              <a:t>  |</a:t>
            </a:r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partem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37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7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6.xml"/><Relationship Id="rId9" Type="http://schemas.openxmlformats.org/officeDocument/2006/relationships/theme" Target="../theme/theme2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vmlDrawing" Target="../drawings/vmlDrawing3.v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tags" Target="../tags/tag4.xml"/><Relationship Id="rId8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vmlDrawing" Target="../drawings/vmlDrawing4.v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tags" Target="../tags/tag7.xml"/><Relationship Id="rId8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tags" Target="../tags/tag10.xml"/><Relationship Id="rId8" Type="http://schemas.openxmlformats.org/officeDocument/2006/relationships/slideLayout" Target="../slideLayouts/slideLayout7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slideLayout" Target="../slideLayouts/slideLayout116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29" Type="http://schemas.openxmlformats.org/officeDocument/2006/relationships/vmlDrawing" Target="../drawings/vmlDrawing6.v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1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28" Type="http://schemas.openxmlformats.org/officeDocument/2006/relationships/theme" Target="../theme/theme6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31" Type="http://schemas.openxmlformats.org/officeDocument/2006/relationships/oleObject" Target="../embeddings/oleObject6.bin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slideLayout" Target="../slideLayouts/slideLayout118.xml"/><Relationship Id="rId30" Type="http://schemas.openxmlformats.org/officeDocument/2006/relationships/tags" Target="../tags/tag13.xml"/><Relationship Id="rId8" Type="http://schemas.openxmlformats.org/officeDocument/2006/relationships/slideLayout" Target="../slideLayouts/slideLayout99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26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slideLayout" Target="../slideLayouts/slideLayout143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38.xml"/><Relationship Id="rId29" Type="http://schemas.openxmlformats.org/officeDocument/2006/relationships/vmlDrawing" Target="../drawings/vmlDrawing7.v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slideLayout" Target="../slideLayouts/slideLayout14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31" Type="http://schemas.openxmlformats.org/officeDocument/2006/relationships/oleObject" Target="../embeddings/oleObject7.bin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5.xml"/><Relationship Id="rId30" Type="http://schemas.openxmlformats.org/officeDocument/2006/relationships/tags" Target="../tags/tag16.xml"/><Relationship Id="rId8" Type="http://schemas.openxmlformats.org/officeDocument/2006/relationships/slideLayout" Target="../slideLayouts/slideLayout1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D4C8A2-CEEC-4D1D-AF95-9E4CE7F848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2527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D4C8A2-CEEC-4D1D-AF95-9E4CE7F848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203DD9E-4E0E-B34A-AB95-F6E3179A8B50}"/>
              </a:ext>
            </a:extLst>
          </p:cNvPr>
          <p:cNvSpPr/>
          <p:nvPr userDrawn="1"/>
        </p:nvSpPr>
        <p:spPr>
          <a:xfrm>
            <a:off x="1" y="4736417"/>
            <a:ext cx="12191999" cy="282699"/>
          </a:xfrm>
          <a:prstGeom prst="rect">
            <a:avLst/>
          </a:prstGeom>
          <a:solidFill>
            <a:srgbClr val="3D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52C54EB-5460-D945-9C96-6F68E4E713BE}"/>
              </a:ext>
            </a:extLst>
          </p:cNvPr>
          <p:cNvCxnSpPr/>
          <p:nvPr userDrawn="1"/>
        </p:nvCxnSpPr>
        <p:spPr>
          <a:xfrm>
            <a:off x="-5316" y="4722327"/>
            <a:ext cx="12192000" cy="0"/>
          </a:xfrm>
          <a:prstGeom prst="line">
            <a:avLst/>
          </a:prstGeom>
          <a:ln w="38100">
            <a:solidFill>
              <a:srgbClr val="FF410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3D69E30C-DAD4-C848-8924-EFBD781B584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225361" y="5926876"/>
            <a:ext cx="729155" cy="72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56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3" r:id="rId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baseline="0">
          <a:solidFill>
            <a:schemeClr val="tx1"/>
          </a:solidFill>
          <a:latin typeface="Arial MT Light" charset="0"/>
          <a:ea typeface="Arial MT Light" charset="0"/>
          <a:cs typeface="Arial MT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000" b="0" i="0" kern="1200" baseline="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58" userDrawn="1">
          <p15:clr>
            <a:srgbClr val="F26B43"/>
          </p15:clr>
        </p15:guide>
        <p15:guide id="2" pos="758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D49B059-A3F6-43A7-8EFF-9695908EE2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7655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12" imgW="473" imgH="473" progId="TCLayout.ActiveDocument.1">
                  <p:embed/>
                </p:oleObj>
              </mc:Choice>
              <mc:Fallback>
                <p:oleObj name="think-cell Slide" r:id="rId12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D49B059-A3F6-43A7-8EFF-9695908EE2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E742097E-1E59-6C45-BB2C-281E2BE0EC02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1225361" y="5926876"/>
            <a:ext cx="729155" cy="72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46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881" r:id="rId7"/>
    <p:sldLayoutId id="2147483882" r:id="rId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baseline="0">
          <a:solidFill>
            <a:schemeClr val="tx1"/>
          </a:solidFill>
          <a:latin typeface="Arial MT Light" charset="0"/>
          <a:ea typeface="Arial MT Light" charset="0"/>
          <a:cs typeface="Arial MT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000" b="0" i="0" kern="1200" baseline="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2"/>
          </a:solidFill>
          <a:latin typeface="Arial MT Light" charset="0"/>
          <a:ea typeface="Arial MT Light" charset="0"/>
          <a:cs typeface="Arial MT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2B1A3D-7DAB-4342-A178-9808DC70B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37993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2B1A3D-7DAB-4342-A178-9808DC70BF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PURPLE</a:t>
            </a:r>
            <a:r>
              <a:rPr lang="en-US" sz="2400" baseline="0">
                <a:solidFill>
                  <a:schemeClr val="tx1"/>
                </a:solidFill>
              </a:rPr>
              <a:t> SLIDES </a:t>
            </a:r>
            <a:r>
              <a:rPr lang="mr-IN" sz="2400" baseline="0">
                <a:solidFill>
                  <a:schemeClr val="tx1"/>
                </a:solidFill>
              </a:rPr>
              <a:t>–</a:t>
            </a:r>
            <a:r>
              <a:rPr lang="en-US" sz="2400" baseline="0">
                <a:solidFill>
                  <a:schemeClr val="tx1"/>
                </a:solidFill>
              </a:rPr>
              <a:t> HR US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0" y="0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0" y="6591927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439C485-6924-F343-8EFA-2F9FD702337D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1235871" y="251300"/>
            <a:ext cx="729155" cy="72915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BC52E37-A8EE-44BF-B67D-782C60C9E8A0}"/>
              </a:ext>
            </a:extLst>
          </p:cNvPr>
          <p:cNvSpPr txBox="1"/>
          <p:nvPr userDrawn="1"/>
        </p:nvSpPr>
        <p:spPr>
          <a:xfrm>
            <a:off x="311873" y="6650268"/>
            <a:ext cx="4371444" cy="1615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</a:rPr>
              <a:t>Confidential &amp; Privileged | Information Security &amp; Cybersecurity</a:t>
            </a:r>
          </a:p>
        </p:txBody>
      </p:sp>
    </p:spTree>
    <p:extLst>
      <p:ext uri="{BB962C8B-B14F-4D97-AF65-F5344CB8AC3E}">
        <p14:creationId xmlns:p14="http://schemas.microsoft.com/office/powerpoint/2010/main" val="25366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  <p:sldLayoutId id="2147483869" r:id="rId20"/>
    <p:sldLayoutId id="2147483870" r:id="rId21"/>
    <p:sldLayoutId id="2147483871" r:id="rId22"/>
    <p:sldLayoutId id="2147483872" r:id="rId23"/>
    <p:sldLayoutId id="2147483873" r:id="rId24"/>
    <p:sldLayoutId id="2147483874" r:id="rId25"/>
    <p:sldLayoutId id="2147483875" r:id="rId26"/>
    <p:sldLayoutId id="2147483876" r:id="rId2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C1CA9C8-6218-4F5A-8D06-D1853B141D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597445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C1CA9C8-6218-4F5A-8D06-D1853B141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PURPLE</a:t>
            </a:r>
            <a:r>
              <a:rPr lang="en-US" sz="2400" baseline="0">
                <a:solidFill>
                  <a:schemeClr val="tx1"/>
                </a:solidFill>
              </a:rPr>
              <a:t> SLIDES </a:t>
            </a:r>
            <a:r>
              <a:rPr lang="mr-IN" sz="2400" baseline="0">
                <a:solidFill>
                  <a:schemeClr val="tx1"/>
                </a:solidFill>
              </a:rPr>
              <a:t>–</a:t>
            </a:r>
            <a:r>
              <a:rPr lang="en-US" sz="2400" baseline="0">
                <a:solidFill>
                  <a:schemeClr val="tx1"/>
                </a:solidFill>
              </a:rPr>
              <a:t> HR US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0" y="0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3F86AD3-0EFF-5841-82AE-B507E17A4011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1235871" y="251300"/>
            <a:ext cx="729155" cy="72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641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60" r:id="rId23"/>
    <p:sldLayoutId id="2147483761" r:id="rId24"/>
    <p:sldLayoutId id="2147483762" r:id="rId25"/>
    <p:sldLayoutId id="2147483763" r:id="rId26"/>
    <p:sldLayoutId id="2147483764" r:id="rId2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57F4B6-F24B-4B3B-9AA8-133C3B08F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317251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7"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57F4B6-F24B-4B3B-9AA8-133C3B08F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</a:t>
            </a:r>
            <a:r>
              <a:rPr lang="mr-IN" sz="2400" baseline="0">
                <a:solidFill>
                  <a:schemeClr val="tx1"/>
                </a:solidFill>
              </a:rPr>
              <a:t>–</a:t>
            </a:r>
            <a:r>
              <a:rPr lang="en-US" sz="2400" baseline="0">
                <a:solidFill>
                  <a:schemeClr val="tx1"/>
                </a:solidFill>
              </a:rPr>
              <a:t> FINANCE US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7AB977A0-F710-524F-9BA5-B2538431FDD4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1235871" y="251300"/>
            <a:ext cx="729155" cy="72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0" r:id="rId25"/>
    <p:sldLayoutId id="2147483791" r:id="rId26"/>
    <p:sldLayoutId id="2147483792" r:id="rId2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1D5EF5-67EE-4C71-A301-B631E5FAC5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43834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29"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1D5EF5-67EE-4C71-A301-B631E5FAC5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</a:t>
            </a:r>
            <a:r>
              <a:rPr lang="mr-IN" sz="2400" baseline="0">
                <a:solidFill>
                  <a:schemeClr val="tx1"/>
                </a:solidFill>
              </a:rPr>
              <a:t>–</a:t>
            </a:r>
            <a:r>
              <a:rPr lang="en-US" sz="2400" baseline="0">
                <a:solidFill>
                  <a:schemeClr val="tx1"/>
                </a:solidFill>
              </a:rPr>
              <a:t> FINANCE US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B75683A-284D-C74A-881B-8FADFCC4D0BA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1235871" y="251300"/>
            <a:ext cx="729155" cy="72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26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  <p:sldLayoutId id="2147483814" r:id="rId21"/>
    <p:sldLayoutId id="2147483815" r:id="rId22"/>
    <p:sldLayoutId id="2147483816" r:id="rId23"/>
    <p:sldLayoutId id="2147483817" r:id="rId24"/>
    <p:sldLayoutId id="2147483818" r:id="rId25"/>
    <p:sldLayoutId id="2147483819" r:id="rId26"/>
    <p:sldLayoutId id="2147483820" r:id="rId2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56AE61-DDF2-4A19-BEAF-DBF31DF4C4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07505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1"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56AE61-DDF2-4A19-BEAF-DBF31DF4C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</a:t>
            </a:r>
            <a:r>
              <a:rPr lang="mr-IN" sz="2400" baseline="0">
                <a:solidFill>
                  <a:schemeClr val="tx1"/>
                </a:solidFill>
              </a:rPr>
              <a:t>–</a:t>
            </a:r>
            <a:r>
              <a:rPr lang="en-US" sz="2400" baseline="0">
                <a:solidFill>
                  <a:schemeClr val="tx1"/>
                </a:solidFill>
              </a:rPr>
              <a:t> FINANCE US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AF64F723-E64A-CC47-94CA-52BAEBE51CCD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1235871" y="251300"/>
            <a:ext cx="729155" cy="72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780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19.gi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8F8B325-F221-0620-03B6-B333CD3BF1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8665" y="437658"/>
            <a:ext cx="723578" cy="8406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9305EAC-BFDD-9B51-9ED3-D05A72108951}"/>
              </a:ext>
            </a:extLst>
          </p:cNvPr>
          <p:cNvSpPr txBox="1">
            <a:spLocks/>
          </p:cNvSpPr>
          <p:nvPr/>
        </p:nvSpPr>
        <p:spPr>
          <a:xfrm>
            <a:off x="692045" y="3559944"/>
            <a:ext cx="10495243" cy="6050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sz="4400" dirty="0">
                <a:solidFill>
                  <a:schemeClr val="bg1"/>
                </a:solidFill>
                <a:latin typeface="Abadi Extra Light" panose="020B0604020202020204" pitchFamily="34" charset="0"/>
              </a:rPr>
              <a:t>CYBERSECURITY AND THE HUMAN FACTOR</a:t>
            </a:r>
            <a:endParaRPr lang="es-US" sz="4400" dirty="0">
              <a:solidFill>
                <a:schemeClr val="bg1"/>
              </a:solidFill>
              <a:latin typeface="Abadi Extra Light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1D1C799-324B-7E0C-C412-1DDF6B513868}"/>
              </a:ext>
            </a:extLst>
          </p:cNvPr>
          <p:cNvSpPr txBox="1">
            <a:spLocks/>
          </p:cNvSpPr>
          <p:nvPr/>
        </p:nvSpPr>
        <p:spPr>
          <a:xfrm>
            <a:off x="692046" y="4502852"/>
            <a:ext cx="6851754" cy="7462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badi Extra Light" panose="020B0604020202020204" pitchFamily="34" charset="0"/>
              </a:rPr>
              <a:t>Juan Manuel Rodríguez</a:t>
            </a:r>
          </a:p>
          <a:p>
            <a:r>
              <a:rPr lang="en-US" sz="2400" dirty="0">
                <a:solidFill>
                  <a:schemeClr val="bg1"/>
                </a:solidFill>
                <a:latin typeface="Abadi Extra Light" panose="020B0604020202020204" pitchFamily="34" charset="0"/>
              </a:rPr>
              <a:t>Senior Manager, Information Security Operations Center</a:t>
            </a:r>
          </a:p>
          <a:p>
            <a:r>
              <a:rPr lang="en-US" sz="2400" dirty="0">
                <a:solidFill>
                  <a:schemeClr val="bg1"/>
                </a:solidFill>
                <a:latin typeface="Abadi Extra Light" panose="020B0604020202020204" pitchFamily="34" charset="0"/>
              </a:rPr>
              <a:t>Liberty Latin America</a:t>
            </a:r>
            <a:endParaRPr lang="es-US" sz="2400" dirty="0">
              <a:solidFill>
                <a:schemeClr val="bg1"/>
              </a:solidFill>
              <a:latin typeface="Abadi Extra Light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F633E1-50BF-2485-8DF7-6B96C1DF2F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046" y="5609562"/>
            <a:ext cx="658521" cy="6585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C621E20-08B5-7485-D8C5-B27DC11A0439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1561986" y="5733973"/>
            <a:ext cx="946991" cy="432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939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36">
            <a:extLst>
              <a:ext uri="{FF2B5EF4-FFF2-40B4-BE49-F238E27FC236}">
                <a16:creationId xmlns:a16="http://schemas.microsoft.com/office/drawing/2014/main" id="{7F86F7AF-5D94-E94D-819E-144380AF9AD8}"/>
              </a:ext>
            </a:extLst>
          </p:cNvPr>
          <p:cNvSpPr/>
          <p:nvPr/>
        </p:nvSpPr>
        <p:spPr>
          <a:xfrm>
            <a:off x="6248709" y="2040494"/>
            <a:ext cx="2181243" cy="4071148"/>
          </a:xfrm>
          <a:custGeom>
            <a:avLst/>
            <a:gdLst>
              <a:gd name="connsiteX0" fmla="*/ 2362483 w 4362485"/>
              <a:gd name="connsiteY0" fmla="*/ 0 h 8142296"/>
              <a:gd name="connsiteX1" fmla="*/ 2402074 w 4362485"/>
              <a:gd name="connsiteY1" fmla="*/ 25803 h 8142296"/>
              <a:gd name="connsiteX2" fmla="*/ 4362485 w 4362485"/>
              <a:gd name="connsiteY2" fmla="*/ 3780653 h 8142296"/>
              <a:gd name="connsiteX3" fmla="*/ 2402074 w 4362485"/>
              <a:gd name="connsiteY3" fmla="*/ 7535503 h 8142296"/>
              <a:gd name="connsiteX4" fmla="*/ 2176016 w 4362485"/>
              <a:gd name="connsiteY4" fmla="*/ 7682833 h 8142296"/>
              <a:gd name="connsiteX5" fmla="*/ 2441287 w 4362485"/>
              <a:gd name="connsiteY5" fmla="*/ 8142296 h 8142296"/>
              <a:gd name="connsiteX6" fmla="*/ 0 w 4362485"/>
              <a:gd name="connsiteY6" fmla="*/ 7196290 h 8142296"/>
              <a:gd name="connsiteX7" fmla="*/ 401379 w 4362485"/>
              <a:gd name="connsiteY7" fmla="*/ 4609071 h 8142296"/>
              <a:gd name="connsiteX8" fmla="*/ 709786 w 4362485"/>
              <a:gd name="connsiteY8" fmla="*/ 5143248 h 8142296"/>
              <a:gd name="connsiteX9" fmla="*/ 864172 w 4362485"/>
              <a:gd name="connsiteY9" fmla="*/ 5024899 h 8142296"/>
              <a:gd name="connsiteX10" fmla="*/ 1432817 w 4362485"/>
              <a:gd name="connsiteY10" fmla="*/ 3780653 h 8142296"/>
              <a:gd name="connsiteX11" fmla="*/ 1005344 w 4362485"/>
              <a:gd name="connsiteY11" fmla="*/ 2674252 h 8142296"/>
              <a:gd name="connsiteX12" fmla="*/ 895346 w 4362485"/>
              <a:gd name="connsiteY12" fmla="*/ 2566847 h 8142296"/>
              <a:gd name="connsiteX13" fmla="*/ 2654921 w 4362485"/>
              <a:gd name="connsiteY13" fmla="*/ 1885007 h 8142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362485" h="8142296">
                <a:moveTo>
                  <a:pt x="2362483" y="0"/>
                </a:moveTo>
                <a:lnTo>
                  <a:pt x="2402074" y="25803"/>
                </a:lnTo>
                <a:cubicBezTo>
                  <a:pt x="3587147" y="852596"/>
                  <a:pt x="4362485" y="2226080"/>
                  <a:pt x="4362485" y="3780653"/>
                </a:cubicBezTo>
                <a:cubicBezTo>
                  <a:pt x="4362485" y="5335227"/>
                  <a:pt x="3587147" y="6708711"/>
                  <a:pt x="2402074" y="7535503"/>
                </a:cubicBezTo>
                <a:lnTo>
                  <a:pt x="2176016" y="7682833"/>
                </a:lnTo>
                <a:lnTo>
                  <a:pt x="2441287" y="8142296"/>
                </a:lnTo>
                <a:lnTo>
                  <a:pt x="0" y="7196290"/>
                </a:lnTo>
                <a:lnTo>
                  <a:pt x="401379" y="4609071"/>
                </a:lnTo>
                <a:lnTo>
                  <a:pt x="709786" y="5143248"/>
                </a:lnTo>
                <a:lnTo>
                  <a:pt x="864172" y="5024899"/>
                </a:lnTo>
                <a:cubicBezTo>
                  <a:pt x="1212485" y="4723179"/>
                  <a:pt x="1432817" y="4277647"/>
                  <a:pt x="1432817" y="3780653"/>
                </a:cubicBezTo>
                <a:cubicBezTo>
                  <a:pt x="1432817" y="3354659"/>
                  <a:pt x="1270940" y="2966473"/>
                  <a:pt x="1005344" y="2674252"/>
                </a:cubicBezTo>
                <a:lnTo>
                  <a:pt x="895346" y="2566847"/>
                </a:lnTo>
                <a:lnTo>
                  <a:pt x="2654921" y="188500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5" name="Freeform 34">
            <a:extLst>
              <a:ext uri="{FF2B5EF4-FFF2-40B4-BE49-F238E27FC236}">
                <a16:creationId xmlns:a16="http://schemas.microsoft.com/office/drawing/2014/main" id="{100D5167-66B7-7642-B74E-B500CA89E530}"/>
              </a:ext>
            </a:extLst>
          </p:cNvPr>
          <p:cNvSpPr/>
          <p:nvPr/>
        </p:nvSpPr>
        <p:spPr>
          <a:xfrm>
            <a:off x="3818877" y="1610644"/>
            <a:ext cx="3710929" cy="2117159"/>
          </a:xfrm>
          <a:custGeom>
            <a:avLst/>
            <a:gdLst>
              <a:gd name="connsiteX0" fmla="*/ 4554247 w 7421858"/>
              <a:gd name="connsiteY0" fmla="*/ 0 h 4234318"/>
              <a:gd name="connsiteX1" fmla="*/ 6735047 w 7421858"/>
              <a:gd name="connsiteY1" fmla="*/ 552199 h 4234318"/>
              <a:gd name="connsiteX2" fmla="*/ 6749999 w 7421858"/>
              <a:gd name="connsiteY2" fmla="*/ 560796 h 4234318"/>
              <a:gd name="connsiteX3" fmla="*/ 7020479 w 7421858"/>
              <a:gd name="connsiteY3" fmla="*/ 92310 h 4234318"/>
              <a:gd name="connsiteX4" fmla="*/ 7421858 w 7421858"/>
              <a:gd name="connsiteY4" fmla="*/ 2679530 h 4234318"/>
              <a:gd name="connsiteX5" fmla="*/ 4980571 w 7421858"/>
              <a:gd name="connsiteY5" fmla="*/ 3625535 h 4234318"/>
              <a:gd name="connsiteX6" fmla="*/ 5283100 w 7421858"/>
              <a:gd name="connsiteY6" fmla="*/ 3101540 h 4234318"/>
              <a:gd name="connsiteX7" fmla="*/ 5194752 w 7421858"/>
              <a:gd name="connsiteY7" fmla="*/ 3058980 h 4234318"/>
              <a:gd name="connsiteX8" fmla="*/ 4554247 w 7421858"/>
              <a:gd name="connsiteY8" fmla="*/ 2929668 h 4234318"/>
              <a:gd name="connsiteX9" fmla="*/ 2976825 w 7421858"/>
              <a:gd name="connsiteY9" fmla="*/ 4105225 h 4234318"/>
              <a:gd name="connsiteX10" fmla="*/ 2944914 w 7421858"/>
              <a:gd name="connsiteY10" fmla="*/ 4234318 h 4234318"/>
              <a:gd name="connsiteX11" fmla="*/ 1444712 w 7421858"/>
              <a:gd name="connsiteY11" fmla="*/ 3027326 h 4234318"/>
              <a:gd name="connsiteX12" fmla="*/ 0 w 7421858"/>
              <a:gd name="connsiteY12" fmla="*/ 4189673 h 4234318"/>
              <a:gd name="connsiteX13" fmla="*/ 29641 w 7421858"/>
              <a:gd name="connsiteY13" fmla="*/ 3892627 h 4234318"/>
              <a:gd name="connsiteX14" fmla="*/ 4554247 w 7421858"/>
              <a:gd name="connsiteY14" fmla="*/ 0 h 423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421858" h="4234318">
                <a:moveTo>
                  <a:pt x="4554247" y="0"/>
                </a:moveTo>
                <a:cubicBezTo>
                  <a:pt x="5343872" y="0"/>
                  <a:pt x="6086775" y="200037"/>
                  <a:pt x="6735047" y="552199"/>
                </a:cubicBezTo>
                <a:lnTo>
                  <a:pt x="6749999" y="560796"/>
                </a:lnTo>
                <a:lnTo>
                  <a:pt x="7020479" y="92310"/>
                </a:lnTo>
                <a:lnTo>
                  <a:pt x="7421858" y="2679530"/>
                </a:lnTo>
                <a:lnTo>
                  <a:pt x="4980571" y="3625535"/>
                </a:lnTo>
                <a:lnTo>
                  <a:pt x="5283100" y="3101540"/>
                </a:lnTo>
                <a:lnTo>
                  <a:pt x="5194752" y="3058980"/>
                </a:lnTo>
                <a:cubicBezTo>
                  <a:pt x="4997887" y="2975713"/>
                  <a:pt x="4781444" y="2929668"/>
                  <a:pt x="4554247" y="2929668"/>
                </a:cubicBezTo>
                <a:cubicBezTo>
                  <a:pt x="3808757" y="2929668"/>
                  <a:pt x="3179054" y="3425416"/>
                  <a:pt x="2976825" y="4105225"/>
                </a:cubicBezTo>
                <a:lnTo>
                  <a:pt x="2944914" y="4234318"/>
                </a:lnTo>
                <a:lnTo>
                  <a:pt x="1444712" y="3027326"/>
                </a:lnTo>
                <a:lnTo>
                  <a:pt x="0" y="4189673"/>
                </a:lnTo>
                <a:lnTo>
                  <a:pt x="29641" y="3892627"/>
                </a:lnTo>
                <a:cubicBezTo>
                  <a:pt x="359173" y="1689568"/>
                  <a:pt x="2259400" y="0"/>
                  <a:pt x="455424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B882E27B-BE3C-3A42-8DCC-EE03B4339E7A}"/>
              </a:ext>
            </a:extLst>
          </p:cNvPr>
          <p:cNvSpPr/>
          <p:nvPr/>
        </p:nvSpPr>
        <p:spPr>
          <a:xfrm>
            <a:off x="3521279" y="3188315"/>
            <a:ext cx="3578065" cy="3061512"/>
          </a:xfrm>
          <a:custGeom>
            <a:avLst/>
            <a:gdLst>
              <a:gd name="connsiteX0" fmla="*/ 2039909 w 7156130"/>
              <a:gd name="connsiteY0" fmla="*/ 0 h 6123024"/>
              <a:gd name="connsiteX1" fmla="*/ 4079817 w 7156130"/>
              <a:gd name="connsiteY1" fmla="*/ 1641214 h 6123024"/>
              <a:gd name="connsiteX2" fmla="*/ 3508652 w 7156130"/>
              <a:gd name="connsiteY2" fmla="*/ 1641214 h 6123024"/>
              <a:gd name="connsiteX3" fmla="*/ 3512433 w 7156130"/>
              <a:gd name="connsiteY3" fmla="*/ 1716092 h 6123024"/>
              <a:gd name="connsiteX4" fmla="*/ 5149444 w 7156130"/>
              <a:gd name="connsiteY4" fmla="*/ 3193356 h 6123024"/>
              <a:gd name="connsiteX5" fmla="*/ 5638767 w 7156130"/>
              <a:gd name="connsiteY5" fmla="*/ 3119377 h 6123024"/>
              <a:gd name="connsiteX6" fmla="*/ 5648797 w 7156130"/>
              <a:gd name="connsiteY6" fmla="*/ 3115706 h 6123024"/>
              <a:gd name="connsiteX7" fmla="*/ 5362134 w 7156130"/>
              <a:gd name="connsiteY7" fmla="*/ 4963487 h 6123024"/>
              <a:gd name="connsiteX8" fmla="*/ 7156130 w 7156130"/>
              <a:gd name="connsiteY8" fmla="*/ 5658666 h 6123024"/>
              <a:gd name="connsiteX9" fmla="*/ 7082800 w 7156130"/>
              <a:gd name="connsiteY9" fmla="*/ 5695661 h 6123024"/>
              <a:gd name="connsiteX10" fmla="*/ 5149444 w 7156130"/>
              <a:gd name="connsiteY10" fmla="*/ 6123024 h 6123024"/>
              <a:gd name="connsiteX11" fmla="*/ 580222 w 7156130"/>
              <a:gd name="connsiteY11" fmla="*/ 1783287 h 6123024"/>
              <a:gd name="connsiteX12" fmla="*/ 576630 w 7156130"/>
              <a:gd name="connsiteY12" fmla="*/ 1641214 h 6123024"/>
              <a:gd name="connsiteX13" fmla="*/ 0 w 7156130"/>
              <a:gd name="connsiteY13" fmla="*/ 1641214 h 6123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156130" h="6123024">
                <a:moveTo>
                  <a:pt x="2039909" y="0"/>
                </a:moveTo>
                <a:lnTo>
                  <a:pt x="4079817" y="1641214"/>
                </a:lnTo>
                <a:lnTo>
                  <a:pt x="3508652" y="1641214"/>
                </a:lnTo>
                <a:lnTo>
                  <a:pt x="3512433" y="1716092"/>
                </a:lnTo>
                <a:cubicBezTo>
                  <a:pt x="3596699" y="2545849"/>
                  <a:pt x="4297455" y="3193356"/>
                  <a:pt x="5149444" y="3193356"/>
                </a:cubicBezTo>
                <a:cubicBezTo>
                  <a:pt x="5319842" y="3193356"/>
                  <a:pt x="5484190" y="3167456"/>
                  <a:pt x="5638767" y="3119377"/>
                </a:cubicBezTo>
                <a:lnTo>
                  <a:pt x="5648797" y="3115706"/>
                </a:lnTo>
                <a:lnTo>
                  <a:pt x="5362134" y="4963487"/>
                </a:lnTo>
                <a:lnTo>
                  <a:pt x="7156130" y="5658666"/>
                </a:lnTo>
                <a:lnTo>
                  <a:pt x="7082800" y="5695661"/>
                </a:lnTo>
                <a:cubicBezTo>
                  <a:pt x="6495516" y="5969871"/>
                  <a:pt x="5840366" y="6123024"/>
                  <a:pt x="5149444" y="6123024"/>
                </a:cubicBezTo>
                <a:cubicBezTo>
                  <a:pt x="2701607" y="6123024"/>
                  <a:pt x="702760" y="4200671"/>
                  <a:pt x="580222" y="1783287"/>
                </a:cubicBezTo>
                <a:lnTo>
                  <a:pt x="576630" y="1641214"/>
                </a:lnTo>
                <a:lnTo>
                  <a:pt x="0" y="16412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FD8330F-8A13-0742-809E-A162286F0DBA}"/>
              </a:ext>
            </a:extLst>
          </p:cNvPr>
          <p:cNvSpPr txBox="1"/>
          <p:nvPr/>
        </p:nvSpPr>
        <p:spPr>
          <a:xfrm>
            <a:off x="4245828" y="3322373"/>
            <a:ext cx="57900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1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54536FC-D172-E344-8054-F6B995E784B4}"/>
              </a:ext>
            </a:extLst>
          </p:cNvPr>
          <p:cNvSpPr txBox="1"/>
          <p:nvPr/>
        </p:nvSpPr>
        <p:spPr>
          <a:xfrm>
            <a:off x="6805053" y="2505509"/>
            <a:ext cx="65434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962C44B-E5B4-364E-B078-1947602A2195}"/>
              </a:ext>
            </a:extLst>
          </p:cNvPr>
          <p:cNvSpPr txBox="1"/>
          <p:nvPr/>
        </p:nvSpPr>
        <p:spPr>
          <a:xfrm>
            <a:off x="6243905" y="5169461"/>
            <a:ext cx="667170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4D80FA1-E83D-DD49-8323-22099FC41B7C}"/>
              </a:ext>
            </a:extLst>
          </p:cNvPr>
          <p:cNvSpPr txBox="1"/>
          <p:nvPr/>
        </p:nvSpPr>
        <p:spPr>
          <a:xfrm>
            <a:off x="1761297" y="1721644"/>
            <a:ext cx="2250937" cy="52322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28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ROCESSES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90F33A03-C473-844E-99D4-EBD4D1A77443}"/>
              </a:ext>
            </a:extLst>
          </p:cNvPr>
          <p:cNvSpPr txBox="1">
            <a:spLocks/>
          </p:cNvSpPr>
          <p:nvPr/>
        </p:nvSpPr>
        <p:spPr>
          <a:xfrm>
            <a:off x="742668" y="2155720"/>
            <a:ext cx="3193211" cy="738664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1750"/>
              </a:lnSpc>
            </a:pPr>
            <a:r>
              <a:rPr lang="en-US" sz="1600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Guidelines that provide coherent structure to mitigate risks or deal with threats in real-time.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2308F89-FA6A-C44F-84A0-306010E79F69}"/>
              </a:ext>
            </a:extLst>
          </p:cNvPr>
          <p:cNvSpPr txBox="1"/>
          <p:nvPr/>
        </p:nvSpPr>
        <p:spPr>
          <a:xfrm>
            <a:off x="1153711" y="4618982"/>
            <a:ext cx="2646878" cy="52322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US" sz="28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TECHNOLOGY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F2EDDF3B-E404-4247-8869-4D0EDE68CCC3}"/>
              </a:ext>
            </a:extLst>
          </p:cNvPr>
          <p:cNvSpPr txBox="1">
            <a:spLocks/>
          </p:cNvSpPr>
          <p:nvPr/>
        </p:nvSpPr>
        <p:spPr>
          <a:xfrm>
            <a:off x="760774" y="5174523"/>
            <a:ext cx="2988266" cy="738664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1750"/>
              </a:lnSpc>
            </a:pPr>
            <a:r>
              <a:rPr lang="en-US" sz="1600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State of the art security tools that help prevent, protect and respond to cyberattacks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4A2FE99-3D60-D04D-B1C2-FAB33756D673}"/>
              </a:ext>
            </a:extLst>
          </p:cNvPr>
          <p:cNvSpPr txBox="1"/>
          <p:nvPr/>
        </p:nvSpPr>
        <p:spPr>
          <a:xfrm>
            <a:off x="8582544" y="3007088"/>
            <a:ext cx="1475084" cy="52322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EOPLE</a:t>
            </a: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B941DFC1-C55E-7340-9462-2926E3D84104}"/>
              </a:ext>
            </a:extLst>
          </p:cNvPr>
          <p:cNvSpPr txBox="1">
            <a:spLocks/>
          </p:cNvSpPr>
          <p:nvPr/>
        </p:nvSpPr>
        <p:spPr>
          <a:xfrm>
            <a:off x="8638292" y="3535913"/>
            <a:ext cx="3294628" cy="969496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750"/>
              </a:lnSpc>
            </a:pPr>
            <a:r>
              <a:rPr lang="en-US" sz="1600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nable </a:t>
            </a:r>
            <a:r>
              <a:rPr lang="en-US" sz="1600" b="1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veryone</a:t>
            </a:r>
            <a:r>
              <a:rPr lang="en-US" sz="1600" dirty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(end-users and IT) with cybersecurity skills to implement controls, technologies, and best practices.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41A6DA70-9DC3-86BD-3235-A48F950E1CFC}"/>
              </a:ext>
            </a:extLst>
          </p:cNvPr>
          <p:cNvSpPr txBox="1">
            <a:spLocks/>
          </p:cNvSpPr>
          <p:nvPr/>
        </p:nvSpPr>
        <p:spPr>
          <a:xfrm>
            <a:off x="311873" y="207732"/>
            <a:ext cx="9966660" cy="4644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3 CYBERSECURITY PILLARS</a:t>
            </a:r>
            <a:endParaRPr lang="es-US" dirty="0"/>
          </a:p>
        </p:txBody>
      </p:sp>
      <p:sp>
        <p:nvSpPr>
          <p:cNvPr id="20" name="Subtitle 7">
            <a:extLst>
              <a:ext uri="{FF2B5EF4-FFF2-40B4-BE49-F238E27FC236}">
                <a16:creationId xmlns:a16="http://schemas.microsoft.com/office/drawing/2014/main" id="{7FF30EB3-A675-4F29-2B74-00A109B34741}"/>
              </a:ext>
            </a:extLst>
          </p:cNvPr>
          <p:cNvSpPr txBox="1">
            <a:spLocks/>
          </p:cNvSpPr>
          <p:nvPr/>
        </p:nvSpPr>
        <p:spPr>
          <a:xfrm>
            <a:off x="311873" y="710558"/>
            <a:ext cx="9966660" cy="29838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0" i="0" kern="1200" baseline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othing new…</a:t>
            </a:r>
            <a:endParaRPr lang="es-US" dirty="0"/>
          </a:p>
        </p:txBody>
      </p:sp>
      <p:pic>
        <p:nvPicPr>
          <p:cNvPr id="21" name="Graphic 20" descr="Ui Ux outline">
            <a:extLst>
              <a:ext uri="{FF2B5EF4-FFF2-40B4-BE49-F238E27FC236}">
                <a16:creationId xmlns:a16="http://schemas.microsoft.com/office/drawing/2014/main" id="{15F0CFEE-83A0-4EF5-AD6D-945B791CC0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99327" y="4543476"/>
            <a:ext cx="920666" cy="862218"/>
          </a:xfrm>
          <a:prstGeom prst="rect">
            <a:avLst/>
          </a:prstGeom>
        </p:spPr>
      </p:pic>
      <p:sp>
        <p:nvSpPr>
          <p:cNvPr id="22" name="Freeform 799">
            <a:extLst>
              <a:ext uri="{FF2B5EF4-FFF2-40B4-BE49-F238E27FC236}">
                <a16:creationId xmlns:a16="http://schemas.microsoft.com/office/drawing/2014/main" id="{B4AC6DE0-03BB-4CF5-F183-D1186EE7B5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239" y="3624771"/>
            <a:ext cx="814493" cy="791781"/>
          </a:xfrm>
          <a:custGeom>
            <a:avLst/>
            <a:gdLst/>
            <a:ahLst/>
            <a:cxnLst/>
            <a:rect l="0" t="0" r="r" b="b"/>
            <a:pathLst>
              <a:path w="306026" h="283803">
                <a:moveTo>
                  <a:pt x="93475" y="168490"/>
                </a:moveTo>
                <a:cubicBezTo>
                  <a:pt x="91670" y="173519"/>
                  <a:pt x="89144" y="178908"/>
                  <a:pt x="84091" y="184296"/>
                </a:cubicBezTo>
                <a:cubicBezTo>
                  <a:pt x="86979" y="189685"/>
                  <a:pt x="102498" y="197588"/>
                  <a:pt x="117295" y="201539"/>
                </a:cubicBezTo>
                <a:cubicBezTo>
                  <a:pt x="131731" y="197588"/>
                  <a:pt x="147250" y="189685"/>
                  <a:pt x="150137" y="184296"/>
                </a:cubicBezTo>
                <a:cubicBezTo>
                  <a:pt x="145085" y="178908"/>
                  <a:pt x="142558" y="173519"/>
                  <a:pt x="140754" y="168490"/>
                </a:cubicBezTo>
                <a:cubicBezTo>
                  <a:pt x="133175" y="172441"/>
                  <a:pt x="125235" y="174238"/>
                  <a:pt x="116934" y="174238"/>
                </a:cubicBezTo>
                <a:cubicBezTo>
                  <a:pt x="108994" y="174238"/>
                  <a:pt x="101054" y="172441"/>
                  <a:pt x="93475" y="168490"/>
                </a:cubicBezTo>
                <a:close/>
                <a:moveTo>
                  <a:pt x="141476" y="63235"/>
                </a:moveTo>
                <a:lnTo>
                  <a:pt x="135340" y="70420"/>
                </a:lnTo>
                <a:cubicBezTo>
                  <a:pt x="134618" y="71857"/>
                  <a:pt x="132814" y="72575"/>
                  <a:pt x="131370" y="72575"/>
                </a:cubicBezTo>
                <a:cubicBezTo>
                  <a:pt x="131009" y="72216"/>
                  <a:pt x="94919" y="68265"/>
                  <a:pt x="66407" y="84071"/>
                </a:cubicBezTo>
                <a:cubicBezTo>
                  <a:pt x="66407" y="85867"/>
                  <a:pt x="66407" y="88382"/>
                  <a:pt x="66407" y="89100"/>
                </a:cubicBezTo>
                <a:cubicBezTo>
                  <a:pt x="66407" y="90537"/>
                  <a:pt x="65685" y="91974"/>
                  <a:pt x="64602" y="92692"/>
                </a:cubicBezTo>
                <a:cubicBezTo>
                  <a:pt x="63159" y="93770"/>
                  <a:pt x="61715" y="94129"/>
                  <a:pt x="60272" y="93770"/>
                </a:cubicBezTo>
                <a:cubicBezTo>
                  <a:pt x="58828" y="93770"/>
                  <a:pt x="55580" y="98081"/>
                  <a:pt x="56302" y="105265"/>
                </a:cubicBezTo>
                <a:cubicBezTo>
                  <a:pt x="56663" y="110654"/>
                  <a:pt x="58828" y="114605"/>
                  <a:pt x="60633" y="116042"/>
                </a:cubicBezTo>
                <a:cubicBezTo>
                  <a:pt x="60993" y="116402"/>
                  <a:pt x="61715" y="116761"/>
                  <a:pt x="62076" y="116402"/>
                </a:cubicBezTo>
                <a:cubicBezTo>
                  <a:pt x="63159" y="116042"/>
                  <a:pt x="64602" y="115683"/>
                  <a:pt x="66046" y="116402"/>
                </a:cubicBezTo>
                <a:cubicBezTo>
                  <a:pt x="67129" y="117120"/>
                  <a:pt x="68212" y="118198"/>
                  <a:pt x="68572" y="119275"/>
                </a:cubicBezTo>
                <a:cubicBezTo>
                  <a:pt x="72903" y="135441"/>
                  <a:pt x="81204" y="149092"/>
                  <a:pt x="92753" y="156995"/>
                </a:cubicBezTo>
                <a:cubicBezTo>
                  <a:pt x="107550" y="167771"/>
                  <a:pt x="126678" y="167771"/>
                  <a:pt x="141476" y="156995"/>
                </a:cubicBezTo>
                <a:cubicBezTo>
                  <a:pt x="153025" y="149092"/>
                  <a:pt x="161325" y="135441"/>
                  <a:pt x="165656" y="119275"/>
                </a:cubicBezTo>
                <a:cubicBezTo>
                  <a:pt x="165656" y="118198"/>
                  <a:pt x="166739" y="117120"/>
                  <a:pt x="168183" y="116402"/>
                </a:cubicBezTo>
                <a:cubicBezTo>
                  <a:pt x="169265" y="115683"/>
                  <a:pt x="170709" y="115683"/>
                  <a:pt x="171792" y="116402"/>
                </a:cubicBezTo>
                <a:cubicBezTo>
                  <a:pt x="172513" y="116761"/>
                  <a:pt x="172874" y="116402"/>
                  <a:pt x="173235" y="116042"/>
                </a:cubicBezTo>
                <a:cubicBezTo>
                  <a:pt x="175401" y="114605"/>
                  <a:pt x="177205" y="110654"/>
                  <a:pt x="177927" y="105265"/>
                </a:cubicBezTo>
                <a:cubicBezTo>
                  <a:pt x="178649" y="98081"/>
                  <a:pt x="175401" y="93770"/>
                  <a:pt x="174318" y="93411"/>
                </a:cubicBezTo>
                <a:cubicBezTo>
                  <a:pt x="172874" y="93770"/>
                  <a:pt x="171070" y="93770"/>
                  <a:pt x="169987" y="92692"/>
                </a:cubicBezTo>
                <a:cubicBezTo>
                  <a:pt x="168904" y="91974"/>
                  <a:pt x="167822" y="90537"/>
                  <a:pt x="167822" y="89100"/>
                </a:cubicBezTo>
                <a:cubicBezTo>
                  <a:pt x="167822" y="87663"/>
                  <a:pt x="167822" y="84430"/>
                  <a:pt x="167822" y="81915"/>
                </a:cubicBezTo>
                <a:cubicBezTo>
                  <a:pt x="157355" y="77245"/>
                  <a:pt x="147611" y="75449"/>
                  <a:pt x="147611" y="75449"/>
                </a:cubicBezTo>
                <a:cubicBezTo>
                  <a:pt x="145806" y="74731"/>
                  <a:pt x="144363" y="73653"/>
                  <a:pt x="144002" y="72216"/>
                </a:cubicBezTo>
                <a:lnTo>
                  <a:pt x="141476" y="63235"/>
                </a:lnTo>
                <a:close/>
                <a:moveTo>
                  <a:pt x="116934" y="28390"/>
                </a:moveTo>
                <a:cubicBezTo>
                  <a:pt x="96362" y="28390"/>
                  <a:pt x="81565" y="33779"/>
                  <a:pt x="73264" y="44196"/>
                </a:cubicBezTo>
                <a:cubicBezTo>
                  <a:pt x="65324" y="54255"/>
                  <a:pt x="64963" y="66828"/>
                  <a:pt x="65685" y="74012"/>
                </a:cubicBezTo>
                <a:cubicBezTo>
                  <a:pt x="91670" y="61439"/>
                  <a:pt x="120904" y="62517"/>
                  <a:pt x="129566" y="62876"/>
                </a:cubicBezTo>
                <a:lnTo>
                  <a:pt x="139671" y="50662"/>
                </a:lnTo>
                <a:cubicBezTo>
                  <a:pt x="140393" y="49225"/>
                  <a:pt x="142197" y="48507"/>
                  <a:pt x="144002" y="48866"/>
                </a:cubicBezTo>
                <a:cubicBezTo>
                  <a:pt x="145806" y="49225"/>
                  <a:pt x="147250" y="50303"/>
                  <a:pt x="147611" y="52099"/>
                </a:cubicBezTo>
                <a:lnTo>
                  <a:pt x="152303" y="66828"/>
                </a:lnTo>
                <a:cubicBezTo>
                  <a:pt x="155551" y="67546"/>
                  <a:pt x="161686" y="69342"/>
                  <a:pt x="168904" y="72216"/>
                </a:cubicBezTo>
                <a:cubicBezTo>
                  <a:pt x="169265" y="64672"/>
                  <a:pt x="168183" y="53177"/>
                  <a:pt x="160964" y="44196"/>
                </a:cubicBezTo>
                <a:cubicBezTo>
                  <a:pt x="152664" y="33779"/>
                  <a:pt x="137866" y="28390"/>
                  <a:pt x="116934" y="28390"/>
                </a:cubicBezTo>
                <a:close/>
                <a:moveTo>
                  <a:pt x="116934" y="19050"/>
                </a:moveTo>
                <a:cubicBezTo>
                  <a:pt x="140754" y="19050"/>
                  <a:pt x="158077" y="25516"/>
                  <a:pt x="168183" y="38449"/>
                </a:cubicBezTo>
                <a:cubicBezTo>
                  <a:pt x="181536" y="55332"/>
                  <a:pt x="177927" y="77605"/>
                  <a:pt x="176844" y="81556"/>
                </a:cubicBezTo>
                <a:cubicBezTo>
                  <a:pt x="177205" y="82634"/>
                  <a:pt x="177205" y="83712"/>
                  <a:pt x="177205" y="84789"/>
                </a:cubicBezTo>
                <a:cubicBezTo>
                  <a:pt x="183702" y="86945"/>
                  <a:pt x="188032" y="95566"/>
                  <a:pt x="186950" y="106343"/>
                </a:cubicBezTo>
                <a:cubicBezTo>
                  <a:pt x="186228" y="113528"/>
                  <a:pt x="183702" y="119635"/>
                  <a:pt x="179371" y="122868"/>
                </a:cubicBezTo>
                <a:cubicBezTo>
                  <a:pt x="177566" y="124664"/>
                  <a:pt x="175401" y="125382"/>
                  <a:pt x="173235" y="125742"/>
                </a:cubicBezTo>
                <a:cubicBezTo>
                  <a:pt x="168904" y="141188"/>
                  <a:pt x="160243" y="154121"/>
                  <a:pt x="148694" y="163102"/>
                </a:cubicBezTo>
                <a:cubicBezTo>
                  <a:pt x="150137" y="168131"/>
                  <a:pt x="152303" y="173519"/>
                  <a:pt x="157355" y="178548"/>
                </a:cubicBezTo>
                <a:cubicBezTo>
                  <a:pt x="162047" y="179626"/>
                  <a:pt x="167100" y="180704"/>
                  <a:pt x="171792" y="182141"/>
                </a:cubicBezTo>
                <a:cubicBezTo>
                  <a:pt x="175401" y="182859"/>
                  <a:pt x="179010" y="183937"/>
                  <a:pt x="183702" y="185374"/>
                </a:cubicBezTo>
                <a:cubicBezTo>
                  <a:pt x="193446" y="188607"/>
                  <a:pt x="202469" y="192558"/>
                  <a:pt x="210770" y="196510"/>
                </a:cubicBezTo>
                <a:cubicBezTo>
                  <a:pt x="225206" y="203695"/>
                  <a:pt x="234589" y="218423"/>
                  <a:pt x="234589" y="234588"/>
                </a:cubicBezTo>
                <a:lnTo>
                  <a:pt x="234589" y="279492"/>
                </a:lnTo>
                <a:cubicBezTo>
                  <a:pt x="234589" y="282007"/>
                  <a:pt x="232424" y="283803"/>
                  <a:pt x="229898" y="283803"/>
                </a:cubicBezTo>
                <a:cubicBezTo>
                  <a:pt x="227371" y="283803"/>
                  <a:pt x="225206" y="282007"/>
                  <a:pt x="225206" y="279492"/>
                </a:cubicBezTo>
                <a:lnTo>
                  <a:pt x="225206" y="234588"/>
                </a:lnTo>
                <a:cubicBezTo>
                  <a:pt x="225206" y="222015"/>
                  <a:pt x="217988" y="210520"/>
                  <a:pt x="206439" y="204772"/>
                </a:cubicBezTo>
                <a:cubicBezTo>
                  <a:pt x="198860" y="200461"/>
                  <a:pt x="190559" y="197228"/>
                  <a:pt x="180814" y="194355"/>
                </a:cubicBezTo>
                <a:cubicBezTo>
                  <a:pt x="176483" y="192918"/>
                  <a:pt x="172874" y="191840"/>
                  <a:pt x="169265" y="191121"/>
                </a:cubicBezTo>
                <a:cubicBezTo>
                  <a:pt x="165656" y="189685"/>
                  <a:pt x="162047" y="188966"/>
                  <a:pt x="158438" y="188248"/>
                </a:cubicBezTo>
                <a:cubicBezTo>
                  <a:pt x="153746" y="197947"/>
                  <a:pt x="137145" y="204772"/>
                  <a:pt x="125957" y="208724"/>
                </a:cubicBezTo>
                <a:lnTo>
                  <a:pt x="136423" y="218782"/>
                </a:lnTo>
                <a:lnTo>
                  <a:pt x="138588" y="220578"/>
                </a:lnTo>
                <a:lnTo>
                  <a:pt x="155190" y="204772"/>
                </a:lnTo>
                <a:cubicBezTo>
                  <a:pt x="157355" y="203335"/>
                  <a:pt x="160243" y="203335"/>
                  <a:pt x="162047" y="205131"/>
                </a:cubicBezTo>
                <a:cubicBezTo>
                  <a:pt x="163852" y="206928"/>
                  <a:pt x="163491" y="209801"/>
                  <a:pt x="161686" y="211598"/>
                </a:cubicBezTo>
                <a:lnTo>
                  <a:pt x="141476" y="230278"/>
                </a:lnTo>
                <a:cubicBezTo>
                  <a:pt x="140754" y="231355"/>
                  <a:pt x="139671" y="231715"/>
                  <a:pt x="138588" y="231715"/>
                </a:cubicBezTo>
                <a:cubicBezTo>
                  <a:pt x="137145" y="231715"/>
                  <a:pt x="136062" y="231355"/>
                  <a:pt x="135340" y="230278"/>
                </a:cubicBezTo>
                <a:lnTo>
                  <a:pt x="133896" y="229200"/>
                </a:lnTo>
                <a:lnTo>
                  <a:pt x="130648" y="232792"/>
                </a:lnTo>
                <a:lnTo>
                  <a:pt x="138949" y="278415"/>
                </a:lnTo>
                <a:cubicBezTo>
                  <a:pt x="139671" y="280929"/>
                  <a:pt x="137866" y="283444"/>
                  <a:pt x="135340" y="283803"/>
                </a:cubicBezTo>
                <a:cubicBezTo>
                  <a:pt x="134979" y="283803"/>
                  <a:pt x="134979" y="283803"/>
                  <a:pt x="134618" y="283803"/>
                </a:cubicBezTo>
                <a:cubicBezTo>
                  <a:pt x="132453" y="283803"/>
                  <a:pt x="130287" y="282366"/>
                  <a:pt x="129927" y="279851"/>
                </a:cubicBezTo>
                <a:lnTo>
                  <a:pt x="121626" y="232433"/>
                </a:lnTo>
                <a:cubicBezTo>
                  <a:pt x="121265" y="230996"/>
                  <a:pt x="121626" y="229559"/>
                  <a:pt x="122347" y="228481"/>
                </a:cubicBezTo>
                <a:lnTo>
                  <a:pt x="127039" y="222375"/>
                </a:lnTo>
                <a:lnTo>
                  <a:pt x="117295" y="213035"/>
                </a:lnTo>
                <a:lnTo>
                  <a:pt x="107189" y="222375"/>
                </a:lnTo>
                <a:lnTo>
                  <a:pt x="111881" y="228481"/>
                </a:lnTo>
                <a:cubicBezTo>
                  <a:pt x="112964" y="229559"/>
                  <a:pt x="113325" y="230996"/>
                  <a:pt x="112964" y="232433"/>
                </a:cubicBezTo>
                <a:lnTo>
                  <a:pt x="104302" y="279851"/>
                </a:lnTo>
                <a:cubicBezTo>
                  <a:pt x="103941" y="282366"/>
                  <a:pt x="102137" y="283803"/>
                  <a:pt x="99971" y="283803"/>
                </a:cubicBezTo>
                <a:cubicBezTo>
                  <a:pt x="99610" y="283803"/>
                  <a:pt x="99249" y="283803"/>
                  <a:pt x="98889" y="283803"/>
                </a:cubicBezTo>
                <a:cubicBezTo>
                  <a:pt x="96362" y="283444"/>
                  <a:pt x="94919" y="280929"/>
                  <a:pt x="95280" y="278415"/>
                </a:cubicBezTo>
                <a:lnTo>
                  <a:pt x="103580" y="232792"/>
                </a:lnTo>
                <a:lnTo>
                  <a:pt x="100332" y="229200"/>
                </a:lnTo>
                <a:lnTo>
                  <a:pt x="98889" y="230278"/>
                </a:lnTo>
                <a:cubicBezTo>
                  <a:pt x="98167" y="231355"/>
                  <a:pt x="97084" y="231715"/>
                  <a:pt x="96001" y="231715"/>
                </a:cubicBezTo>
                <a:cubicBezTo>
                  <a:pt x="94919" y="231715"/>
                  <a:pt x="93836" y="231355"/>
                  <a:pt x="92753" y="230278"/>
                </a:cubicBezTo>
                <a:lnTo>
                  <a:pt x="72542" y="211598"/>
                </a:lnTo>
                <a:cubicBezTo>
                  <a:pt x="70738" y="209801"/>
                  <a:pt x="70738" y="206928"/>
                  <a:pt x="72182" y="205131"/>
                </a:cubicBezTo>
                <a:cubicBezTo>
                  <a:pt x="73986" y="203335"/>
                  <a:pt x="76873" y="202976"/>
                  <a:pt x="78678" y="204772"/>
                </a:cubicBezTo>
                <a:lnTo>
                  <a:pt x="96001" y="220578"/>
                </a:lnTo>
                <a:lnTo>
                  <a:pt x="108272" y="208724"/>
                </a:lnTo>
                <a:cubicBezTo>
                  <a:pt x="97445" y="205131"/>
                  <a:pt x="80843" y="197947"/>
                  <a:pt x="76151" y="188607"/>
                </a:cubicBezTo>
                <a:cubicBezTo>
                  <a:pt x="69294" y="189685"/>
                  <a:pt x="64963" y="191121"/>
                  <a:pt x="64963" y="191121"/>
                </a:cubicBezTo>
                <a:cubicBezTo>
                  <a:pt x="61354" y="191840"/>
                  <a:pt x="57745" y="192918"/>
                  <a:pt x="53053" y="194355"/>
                </a:cubicBezTo>
                <a:cubicBezTo>
                  <a:pt x="44031" y="197228"/>
                  <a:pt x="35369" y="200821"/>
                  <a:pt x="27790" y="204772"/>
                </a:cubicBezTo>
                <a:cubicBezTo>
                  <a:pt x="16241" y="210520"/>
                  <a:pt x="9023" y="222015"/>
                  <a:pt x="9023" y="234588"/>
                </a:cubicBezTo>
                <a:lnTo>
                  <a:pt x="9023" y="279492"/>
                </a:lnTo>
                <a:cubicBezTo>
                  <a:pt x="9023" y="282007"/>
                  <a:pt x="7218" y="283803"/>
                  <a:pt x="4692" y="283803"/>
                </a:cubicBezTo>
                <a:cubicBezTo>
                  <a:pt x="1805" y="283803"/>
                  <a:pt x="0" y="282007"/>
                  <a:pt x="0" y="279492"/>
                </a:cubicBezTo>
                <a:lnTo>
                  <a:pt x="0" y="234588"/>
                </a:lnTo>
                <a:cubicBezTo>
                  <a:pt x="0" y="218423"/>
                  <a:pt x="9023" y="204054"/>
                  <a:pt x="23459" y="196510"/>
                </a:cubicBezTo>
                <a:cubicBezTo>
                  <a:pt x="31399" y="192558"/>
                  <a:pt x="40783" y="188607"/>
                  <a:pt x="50527" y="185374"/>
                </a:cubicBezTo>
                <a:cubicBezTo>
                  <a:pt x="54858" y="183937"/>
                  <a:pt x="58828" y="182859"/>
                  <a:pt x="62437" y="181781"/>
                </a:cubicBezTo>
                <a:cubicBezTo>
                  <a:pt x="62798" y="181781"/>
                  <a:pt x="67851" y="180704"/>
                  <a:pt x="76512" y="178908"/>
                </a:cubicBezTo>
                <a:cubicBezTo>
                  <a:pt x="81565" y="173878"/>
                  <a:pt x="84091" y="168131"/>
                  <a:pt x="85535" y="163102"/>
                </a:cubicBezTo>
                <a:cubicBezTo>
                  <a:pt x="74347" y="154480"/>
                  <a:pt x="65685" y="141188"/>
                  <a:pt x="60993" y="125742"/>
                </a:cubicBezTo>
                <a:cubicBezTo>
                  <a:pt x="58828" y="125382"/>
                  <a:pt x="56663" y="124305"/>
                  <a:pt x="54858" y="122868"/>
                </a:cubicBezTo>
                <a:cubicBezTo>
                  <a:pt x="50527" y="119635"/>
                  <a:pt x="48001" y="113528"/>
                  <a:pt x="47279" y="106343"/>
                </a:cubicBezTo>
                <a:cubicBezTo>
                  <a:pt x="46196" y="95566"/>
                  <a:pt x="50527" y="86945"/>
                  <a:pt x="57023" y="84789"/>
                </a:cubicBezTo>
                <a:cubicBezTo>
                  <a:pt x="57023" y="83352"/>
                  <a:pt x="57023" y="82275"/>
                  <a:pt x="57023" y="81556"/>
                </a:cubicBezTo>
                <a:cubicBezTo>
                  <a:pt x="56302" y="77245"/>
                  <a:pt x="52693" y="55332"/>
                  <a:pt x="66046" y="38449"/>
                </a:cubicBezTo>
                <a:cubicBezTo>
                  <a:pt x="76151" y="25516"/>
                  <a:pt x="93114" y="19050"/>
                  <a:pt x="116934" y="19050"/>
                </a:cubicBezTo>
                <a:close/>
                <a:moveTo>
                  <a:pt x="188500" y="0"/>
                </a:moveTo>
                <a:cubicBezTo>
                  <a:pt x="212367" y="0"/>
                  <a:pt x="229724" y="6466"/>
                  <a:pt x="239850" y="19399"/>
                </a:cubicBezTo>
                <a:cubicBezTo>
                  <a:pt x="254314" y="37721"/>
                  <a:pt x="249252" y="61431"/>
                  <a:pt x="248528" y="63227"/>
                </a:cubicBezTo>
                <a:cubicBezTo>
                  <a:pt x="248528" y="63946"/>
                  <a:pt x="248528" y="65023"/>
                  <a:pt x="248528" y="65742"/>
                </a:cubicBezTo>
                <a:cubicBezTo>
                  <a:pt x="255399" y="67538"/>
                  <a:pt x="259377" y="76519"/>
                  <a:pt x="258292" y="87296"/>
                </a:cubicBezTo>
                <a:cubicBezTo>
                  <a:pt x="257931" y="94481"/>
                  <a:pt x="255038" y="100588"/>
                  <a:pt x="251060" y="103822"/>
                </a:cubicBezTo>
                <a:cubicBezTo>
                  <a:pt x="249252" y="105259"/>
                  <a:pt x="247082" y="106336"/>
                  <a:pt x="244912" y="106696"/>
                </a:cubicBezTo>
                <a:cubicBezTo>
                  <a:pt x="240211" y="122143"/>
                  <a:pt x="231532" y="135076"/>
                  <a:pt x="220322" y="144057"/>
                </a:cubicBezTo>
                <a:cubicBezTo>
                  <a:pt x="221407" y="149086"/>
                  <a:pt x="223938" y="154834"/>
                  <a:pt x="228640" y="159864"/>
                </a:cubicBezTo>
                <a:cubicBezTo>
                  <a:pt x="233702" y="160582"/>
                  <a:pt x="238765" y="162019"/>
                  <a:pt x="243466" y="163097"/>
                </a:cubicBezTo>
                <a:cubicBezTo>
                  <a:pt x="247082" y="164175"/>
                  <a:pt x="250698" y="165252"/>
                  <a:pt x="255399" y="166689"/>
                </a:cubicBezTo>
                <a:cubicBezTo>
                  <a:pt x="264801" y="169923"/>
                  <a:pt x="274203" y="173156"/>
                  <a:pt x="282159" y="177467"/>
                </a:cubicBezTo>
                <a:cubicBezTo>
                  <a:pt x="296985" y="185011"/>
                  <a:pt x="306026" y="199740"/>
                  <a:pt x="306026" y="215547"/>
                </a:cubicBezTo>
                <a:lnTo>
                  <a:pt x="306026" y="279492"/>
                </a:lnTo>
                <a:cubicBezTo>
                  <a:pt x="306026" y="282007"/>
                  <a:pt x="303856" y="283803"/>
                  <a:pt x="301325" y="283803"/>
                </a:cubicBezTo>
                <a:cubicBezTo>
                  <a:pt x="298793" y="283803"/>
                  <a:pt x="296624" y="282007"/>
                  <a:pt x="296624" y="279492"/>
                </a:cubicBezTo>
                <a:lnTo>
                  <a:pt x="296624" y="215547"/>
                </a:lnTo>
                <a:cubicBezTo>
                  <a:pt x="296624" y="202973"/>
                  <a:pt x="289391" y="191477"/>
                  <a:pt x="278181" y="185729"/>
                </a:cubicBezTo>
                <a:cubicBezTo>
                  <a:pt x="270226" y="181778"/>
                  <a:pt x="261908" y="178185"/>
                  <a:pt x="252506" y="174952"/>
                </a:cubicBezTo>
                <a:cubicBezTo>
                  <a:pt x="248167" y="173874"/>
                  <a:pt x="244551" y="173156"/>
                  <a:pt x="240935" y="172078"/>
                </a:cubicBezTo>
                <a:cubicBezTo>
                  <a:pt x="237318" y="171000"/>
                  <a:pt x="233702" y="170282"/>
                  <a:pt x="230086" y="169563"/>
                </a:cubicBezTo>
                <a:cubicBezTo>
                  <a:pt x="227555" y="174233"/>
                  <a:pt x="222130" y="179263"/>
                  <a:pt x="213090" y="185011"/>
                </a:cubicBezTo>
                <a:cubicBezTo>
                  <a:pt x="212367" y="185370"/>
                  <a:pt x="211644" y="185729"/>
                  <a:pt x="210559" y="185729"/>
                </a:cubicBezTo>
                <a:cubicBezTo>
                  <a:pt x="209112" y="185729"/>
                  <a:pt x="207666" y="185011"/>
                  <a:pt x="206581" y="183215"/>
                </a:cubicBezTo>
                <a:cubicBezTo>
                  <a:pt x="205496" y="181418"/>
                  <a:pt x="205858" y="178544"/>
                  <a:pt x="208389" y="177107"/>
                </a:cubicBezTo>
                <a:cubicBezTo>
                  <a:pt x="217429" y="171719"/>
                  <a:pt x="220684" y="167767"/>
                  <a:pt x="221407" y="165612"/>
                </a:cubicBezTo>
                <a:cubicBezTo>
                  <a:pt x="216706" y="160582"/>
                  <a:pt x="213813" y="154834"/>
                  <a:pt x="212005" y="149446"/>
                </a:cubicBezTo>
                <a:cubicBezTo>
                  <a:pt x="204773" y="153397"/>
                  <a:pt x="196817" y="155553"/>
                  <a:pt x="188500" y="155553"/>
                </a:cubicBezTo>
                <a:cubicBezTo>
                  <a:pt x="184161" y="155553"/>
                  <a:pt x="179821" y="154834"/>
                  <a:pt x="175482" y="153757"/>
                </a:cubicBezTo>
                <a:cubicBezTo>
                  <a:pt x="173312" y="153038"/>
                  <a:pt x="171866" y="150523"/>
                  <a:pt x="172589" y="148368"/>
                </a:cubicBezTo>
                <a:cubicBezTo>
                  <a:pt x="172950" y="145853"/>
                  <a:pt x="175482" y="144416"/>
                  <a:pt x="178013" y="144775"/>
                </a:cubicBezTo>
                <a:cubicBezTo>
                  <a:pt x="189946" y="148009"/>
                  <a:pt x="202241" y="145853"/>
                  <a:pt x="213090" y="138309"/>
                </a:cubicBezTo>
                <a:cubicBezTo>
                  <a:pt x="224300" y="130046"/>
                  <a:pt x="232979" y="116395"/>
                  <a:pt x="236957" y="100229"/>
                </a:cubicBezTo>
                <a:cubicBezTo>
                  <a:pt x="237318" y="99151"/>
                  <a:pt x="238403" y="97714"/>
                  <a:pt x="239488" y="97355"/>
                </a:cubicBezTo>
                <a:cubicBezTo>
                  <a:pt x="240935" y="96637"/>
                  <a:pt x="242381" y="96637"/>
                  <a:pt x="243466" y="97355"/>
                </a:cubicBezTo>
                <a:cubicBezTo>
                  <a:pt x="243827" y="97355"/>
                  <a:pt x="244551" y="97355"/>
                  <a:pt x="245274" y="96637"/>
                </a:cubicBezTo>
                <a:cubicBezTo>
                  <a:pt x="246720" y="95200"/>
                  <a:pt x="248890" y="91607"/>
                  <a:pt x="249252" y="86578"/>
                </a:cubicBezTo>
                <a:cubicBezTo>
                  <a:pt x="249975" y="79034"/>
                  <a:pt x="247082" y="74723"/>
                  <a:pt x="245636" y="74364"/>
                </a:cubicBezTo>
                <a:cubicBezTo>
                  <a:pt x="244551" y="74723"/>
                  <a:pt x="242743" y="74723"/>
                  <a:pt x="241658" y="73645"/>
                </a:cubicBezTo>
                <a:cubicBezTo>
                  <a:pt x="240211" y="72927"/>
                  <a:pt x="239126" y="71849"/>
                  <a:pt x="239126" y="70053"/>
                </a:cubicBezTo>
                <a:cubicBezTo>
                  <a:pt x="239126" y="68616"/>
                  <a:pt x="239126" y="65023"/>
                  <a:pt x="239126" y="62509"/>
                </a:cubicBezTo>
                <a:cubicBezTo>
                  <a:pt x="224662" y="52809"/>
                  <a:pt x="209112" y="48857"/>
                  <a:pt x="188862" y="51013"/>
                </a:cubicBezTo>
                <a:cubicBezTo>
                  <a:pt x="186330" y="51013"/>
                  <a:pt x="184161" y="49576"/>
                  <a:pt x="183799" y="47061"/>
                </a:cubicBezTo>
                <a:cubicBezTo>
                  <a:pt x="183799" y="44546"/>
                  <a:pt x="185245" y="42032"/>
                  <a:pt x="187777" y="42032"/>
                </a:cubicBezTo>
                <a:cubicBezTo>
                  <a:pt x="208389" y="39876"/>
                  <a:pt x="225385" y="43109"/>
                  <a:pt x="240573" y="52091"/>
                </a:cubicBezTo>
                <a:cubicBezTo>
                  <a:pt x="240935" y="44546"/>
                  <a:pt x="239488" y="33769"/>
                  <a:pt x="232617" y="25147"/>
                </a:cubicBezTo>
                <a:cubicBezTo>
                  <a:pt x="224300" y="14370"/>
                  <a:pt x="209474" y="9340"/>
                  <a:pt x="188500" y="9340"/>
                </a:cubicBezTo>
                <a:cubicBezTo>
                  <a:pt x="174759" y="9340"/>
                  <a:pt x="163548" y="11496"/>
                  <a:pt x="155231" y="16525"/>
                </a:cubicBezTo>
                <a:cubicBezTo>
                  <a:pt x="153062" y="17603"/>
                  <a:pt x="150169" y="16884"/>
                  <a:pt x="148722" y="14370"/>
                </a:cubicBezTo>
                <a:cubicBezTo>
                  <a:pt x="147637" y="12214"/>
                  <a:pt x="148360" y="9699"/>
                  <a:pt x="150530" y="8262"/>
                </a:cubicBezTo>
                <a:cubicBezTo>
                  <a:pt x="160294" y="2874"/>
                  <a:pt x="173312" y="0"/>
                  <a:pt x="1885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lIns="91440" tIns="45720" rIns="91440" bIns="45720" anchor="ctr"/>
          <a:lstStyle/>
          <a:p>
            <a:endParaRPr lang="en-US">
              <a:latin typeface="Arial MT Light"/>
            </a:endParaRPr>
          </a:p>
        </p:txBody>
      </p:sp>
      <p:pic>
        <p:nvPicPr>
          <p:cNvPr id="23" name="Graphic 22" descr="Gears outline">
            <a:extLst>
              <a:ext uri="{FF2B5EF4-FFF2-40B4-BE49-F238E27FC236}">
                <a16:creationId xmlns:a16="http://schemas.microsoft.com/office/drawing/2014/main" id="{1A04B758-5A36-2D0F-E39A-47EE19193A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88617" y="1912942"/>
            <a:ext cx="1107383" cy="1107383"/>
          </a:xfrm>
          <a:prstGeom prst="rect">
            <a:avLst/>
          </a:prstGeom>
        </p:spPr>
      </p:pic>
      <p:pic>
        <p:nvPicPr>
          <p:cNvPr id="1026" name="Picture 2" descr="Checkmark PNG, Checkmark Transparent Background - FreeIconsPNG">
            <a:extLst>
              <a:ext uri="{FF2B5EF4-FFF2-40B4-BE49-F238E27FC236}">
                <a16:creationId xmlns:a16="http://schemas.microsoft.com/office/drawing/2014/main" id="{DD0D0231-004A-97D5-EF65-786037E796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11" y="4262295"/>
            <a:ext cx="990972" cy="91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Checkmark PNG, Checkmark Transparent Background - FreeIconsPNG">
            <a:extLst>
              <a:ext uri="{FF2B5EF4-FFF2-40B4-BE49-F238E27FC236}">
                <a16:creationId xmlns:a16="http://schemas.microsoft.com/office/drawing/2014/main" id="{E1E4117F-E522-3316-CE40-44FC7931B6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867" y="1351455"/>
            <a:ext cx="990972" cy="91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CCC8313D-46C8-A760-23A2-3D2EF8EA50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5552" y="2675784"/>
            <a:ext cx="676007" cy="772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28395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5" grpId="0" animBg="1"/>
      <p:bldP spid="36" grpId="0" animBg="1"/>
      <p:bldP spid="38" grpId="0"/>
      <p:bldP spid="39" grpId="0"/>
      <p:bldP spid="41" grpId="0"/>
      <p:bldP spid="45" grpId="0"/>
      <p:bldP spid="46" grpId="0"/>
      <p:bldP spid="47" grpId="0"/>
      <p:bldP spid="48" grpId="0"/>
      <p:bldP spid="49" grpId="0"/>
      <p:bldP spid="50" grpId="0"/>
      <p:bldP spid="20" grpId="0"/>
      <p:bldP spid="2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4D61819A-30C5-A457-17A6-855F7413EBBA}"/>
              </a:ext>
            </a:extLst>
          </p:cNvPr>
          <p:cNvSpPr txBox="1">
            <a:spLocks/>
          </p:cNvSpPr>
          <p:nvPr/>
        </p:nvSpPr>
        <p:spPr>
          <a:xfrm>
            <a:off x="311873" y="207732"/>
            <a:ext cx="9966660" cy="4644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THE FIRST PROBLEM WITH PEOPLE IS…</a:t>
            </a:r>
            <a:endParaRPr lang="es-US" dirty="0"/>
          </a:p>
        </p:txBody>
      </p:sp>
      <p:sp>
        <p:nvSpPr>
          <p:cNvPr id="49" name="Subtitle 7">
            <a:extLst>
              <a:ext uri="{FF2B5EF4-FFF2-40B4-BE49-F238E27FC236}">
                <a16:creationId xmlns:a16="http://schemas.microsoft.com/office/drawing/2014/main" id="{76D0D272-256C-CC5D-662C-40209C2E0E2B}"/>
              </a:ext>
            </a:extLst>
          </p:cNvPr>
          <p:cNvSpPr txBox="1">
            <a:spLocks/>
          </p:cNvSpPr>
          <p:nvPr/>
        </p:nvSpPr>
        <p:spPr>
          <a:xfrm>
            <a:off x="311872" y="737990"/>
            <a:ext cx="7236537" cy="29838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0" i="0" kern="1200" baseline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at people are HUMANS and humans make mistakes </a:t>
            </a:r>
            <a:endParaRPr lang="es-US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77E5D9B-367B-68AA-6B29-84F63DF4E275}"/>
              </a:ext>
            </a:extLst>
          </p:cNvPr>
          <p:cNvGrpSpPr/>
          <p:nvPr/>
        </p:nvGrpSpPr>
        <p:grpSpPr>
          <a:xfrm>
            <a:off x="6327648" y="1947671"/>
            <a:ext cx="4690698" cy="3803905"/>
            <a:chOff x="7148149" y="4268440"/>
            <a:chExt cx="10061924" cy="7475218"/>
          </a:xfrm>
        </p:grpSpPr>
        <p:sp>
          <p:nvSpPr>
            <p:cNvPr id="60" name="Freeform 2">
              <a:extLst>
                <a:ext uri="{FF2B5EF4-FFF2-40B4-BE49-F238E27FC236}">
                  <a16:creationId xmlns:a16="http://schemas.microsoft.com/office/drawing/2014/main" id="{DD8825FE-6E16-7B03-F017-87760D6BD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7739" y="4268440"/>
              <a:ext cx="8080849" cy="5900575"/>
            </a:xfrm>
            <a:custGeom>
              <a:avLst/>
              <a:gdLst>
                <a:gd name="T0" fmla="*/ 6168 w 6180"/>
                <a:gd name="T1" fmla="*/ 2728 h 4510"/>
                <a:gd name="T2" fmla="*/ 6168 w 6180"/>
                <a:gd name="T3" fmla="*/ 2728 h 4510"/>
                <a:gd name="T4" fmla="*/ 5615 w 6180"/>
                <a:gd name="T5" fmla="*/ 1749 h 4510"/>
                <a:gd name="T6" fmla="*/ 5615 w 6180"/>
                <a:gd name="T7" fmla="*/ 1749 h 4510"/>
                <a:gd name="T8" fmla="*/ 5493 w 6180"/>
                <a:gd name="T9" fmla="*/ 1387 h 4510"/>
                <a:gd name="T10" fmla="*/ 5493 w 6180"/>
                <a:gd name="T11" fmla="*/ 1387 h 4510"/>
                <a:gd name="T12" fmla="*/ 5504 w 6180"/>
                <a:gd name="T13" fmla="*/ 577 h 4510"/>
                <a:gd name="T14" fmla="*/ 5504 w 6180"/>
                <a:gd name="T15" fmla="*/ 577 h 4510"/>
                <a:gd name="T16" fmla="*/ 4441 w 6180"/>
                <a:gd name="T17" fmla="*/ 688 h 4510"/>
                <a:gd name="T18" fmla="*/ 4441 w 6180"/>
                <a:gd name="T19" fmla="*/ 688 h 4510"/>
                <a:gd name="T20" fmla="*/ 3756 w 6180"/>
                <a:gd name="T21" fmla="*/ 661 h 4510"/>
                <a:gd name="T22" fmla="*/ 3756 w 6180"/>
                <a:gd name="T23" fmla="*/ 661 h 4510"/>
                <a:gd name="T24" fmla="*/ 3577 w 6180"/>
                <a:gd name="T25" fmla="*/ 367 h 4510"/>
                <a:gd name="T26" fmla="*/ 3577 w 6180"/>
                <a:gd name="T27" fmla="*/ 367 h 4510"/>
                <a:gd name="T28" fmla="*/ 3310 w 6180"/>
                <a:gd name="T29" fmla="*/ 429 h 4510"/>
                <a:gd name="T30" fmla="*/ 3310 w 6180"/>
                <a:gd name="T31" fmla="*/ 429 h 4510"/>
                <a:gd name="T32" fmla="*/ 3296 w 6180"/>
                <a:gd name="T33" fmla="*/ 435 h 4510"/>
                <a:gd name="T34" fmla="*/ 3296 w 6180"/>
                <a:gd name="T35" fmla="*/ 435 h 4510"/>
                <a:gd name="T36" fmla="*/ 3243 w 6180"/>
                <a:gd name="T37" fmla="*/ 466 h 4510"/>
                <a:gd name="T38" fmla="*/ 3243 w 6180"/>
                <a:gd name="T39" fmla="*/ 466 h 4510"/>
                <a:gd name="T40" fmla="*/ 1449 w 6180"/>
                <a:gd name="T41" fmla="*/ 107 h 4510"/>
                <a:gd name="T42" fmla="*/ 1449 w 6180"/>
                <a:gd name="T43" fmla="*/ 107 h 4510"/>
                <a:gd name="T44" fmla="*/ 981 w 6180"/>
                <a:gd name="T45" fmla="*/ 926 h 4510"/>
                <a:gd name="T46" fmla="*/ 981 w 6180"/>
                <a:gd name="T47" fmla="*/ 926 h 4510"/>
                <a:gd name="T48" fmla="*/ 548 w 6180"/>
                <a:gd name="T49" fmla="*/ 1420 h 4510"/>
                <a:gd name="T50" fmla="*/ 548 w 6180"/>
                <a:gd name="T51" fmla="*/ 1420 h 4510"/>
                <a:gd name="T52" fmla="*/ 0 w 6180"/>
                <a:gd name="T53" fmla="*/ 2062 h 4510"/>
                <a:gd name="T54" fmla="*/ 0 w 6180"/>
                <a:gd name="T55" fmla="*/ 2062 h 4510"/>
                <a:gd name="T56" fmla="*/ 433 w 6180"/>
                <a:gd name="T57" fmla="*/ 2647 h 4510"/>
                <a:gd name="T58" fmla="*/ 433 w 6180"/>
                <a:gd name="T59" fmla="*/ 2647 h 4510"/>
                <a:gd name="T60" fmla="*/ 573 w 6180"/>
                <a:gd name="T61" fmla="*/ 3128 h 4510"/>
                <a:gd name="T62" fmla="*/ 573 w 6180"/>
                <a:gd name="T63" fmla="*/ 3128 h 4510"/>
                <a:gd name="T64" fmla="*/ 493 w 6180"/>
                <a:gd name="T65" fmla="*/ 3363 h 4510"/>
                <a:gd name="T66" fmla="*/ 493 w 6180"/>
                <a:gd name="T67" fmla="*/ 3363 h 4510"/>
                <a:gd name="T68" fmla="*/ 2178 w 6180"/>
                <a:gd name="T69" fmla="*/ 4166 h 4510"/>
                <a:gd name="T70" fmla="*/ 2178 w 6180"/>
                <a:gd name="T71" fmla="*/ 4166 h 4510"/>
                <a:gd name="T72" fmla="*/ 4859 w 6180"/>
                <a:gd name="T73" fmla="*/ 4509 h 4510"/>
                <a:gd name="T74" fmla="*/ 4859 w 6180"/>
                <a:gd name="T75" fmla="*/ 4509 h 4510"/>
                <a:gd name="T76" fmla="*/ 5967 w 6180"/>
                <a:gd name="T77" fmla="*/ 3932 h 4510"/>
                <a:gd name="T78" fmla="*/ 5967 w 6180"/>
                <a:gd name="T79" fmla="*/ 3932 h 4510"/>
                <a:gd name="T80" fmla="*/ 5959 w 6180"/>
                <a:gd name="T81" fmla="*/ 3693 h 4510"/>
                <a:gd name="T82" fmla="*/ 5959 w 6180"/>
                <a:gd name="T83" fmla="*/ 3693 h 4510"/>
                <a:gd name="T84" fmla="*/ 6005 w 6180"/>
                <a:gd name="T85" fmla="*/ 3383 h 4510"/>
                <a:gd name="T86" fmla="*/ 6005 w 6180"/>
                <a:gd name="T87" fmla="*/ 3383 h 4510"/>
                <a:gd name="T88" fmla="*/ 6168 w 6180"/>
                <a:gd name="T89" fmla="*/ 2728 h 4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180" h="4510">
                  <a:moveTo>
                    <a:pt x="6168" y="2728"/>
                  </a:moveTo>
                  <a:lnTo>
                    <a:pt x="6168" y="2728"/>
                  </a:lnTo>
                  <a:cubicBezTo>
                    <a:pt x="6151" y="2344"/>
                    <a:pt x="5814" y="1947"/>
                    <a:pt x="5615" y="1749"/>
                  </a:cubicBezTo>
                  <a:lnTo>
                    <a:pt x="5615" y="1749"/>
                  </a:lnTo>
                  <a:cubicBezTo>
                    <a:pt x="5455" y="1592"/>
                    <a:pt x="5459" y="1476"/>
                    <a:pt x="5493" y="1387"/>
                  </a:cubicBezTo>
                  <a:lnTo>
                    <a:pt x="5493" y="1387"/>
                  </a:lnTo>
                  <a:cubicBezTo>
                    <a:pt x="5621" y="1058"/>
                    <a:pt x="5684" y="757"/>
                    <a:pt x="5504" y="577"/>
                  </a:cubicBezTo>
                  <a:lnTo>
                    <a:pt x="5504" y="577"/>
                  </a:lnTo>
                  <a:cubicBezTo>
                    <a:pt x="5279" y="352"/>
                    <a:pt x="4876" y="485"/>
                    <a:pt x="4441" y="688"/>
                  </a:cubicBezTo>
                  <a:lnTo>
                    <a:pt x="4441" y="688"/>
                  </a:lnTo>
                  <a:cubicBezTo>
                    <a:pt x="3909" y="936"/>
                    <a:pt x="3755" y="841"/>
                    <a:pt x="3756" y="661"/>
                  </a:cubicBezTo>
                  <a:lnTo>
                    <a:pt x="3756" y="661"/>
                  </a:lnTo>
                  <a:cubicBezTo>
                    <a:pt x="3756" y="575"/>
                    <a:pt x="3760" y="367"/>
                    <a:pt x="3577" y="367"/>
                  </a:cubicBezTo>
                  <a:lnTo>
                    <a:pt x="3577" y="367"/>
                  </a:lnTo>
                  <a:cubicBezTo>
                    <a:pt x="3482" y="367"/>
                    <a:pt x="3392" y="389"/>
                    <a:pt x="3310" y="429"/>
                  </a:cubicBezTo>
                  <a:lnTo>
                    <a:pt x="3310" y="429"/>
                  </a:lnTo>
                  <a:cubicBezTo>
                    <a:pt x="3306" y="430"/>
                    <a:pt x="3301" y="433"/>
                    <a:pt x="3296" y="435"/>
                  </a:cubicBezTo>
                  <a:lnTo>
                    <a:pt x="3296" y="435"/>
                  </a:lnTo>
                  <a:cubicBezTo>
                    <a:pt x="3278" y="444"/>
                    <a:pt x="3260" y="455"/>
                    <a:pt x="3243" y="466"/>
                  </a:cubicBezTo>
                  <a:lnTo>
                    <a:pt x="3243" y="466"/>
                  </a:lnTo>
                  <a:cubicBezTo>
                    <a:pt x="2208" y="1043"/>
                    <a:pt x="1850" y="247"/>
                    <a:pt x="1449" y="107"/>
                  </a:cubicBezTo>
                  <a:lnTo>
                    <a:pt x="1449" y="107"/>
                  </a:lnTo>
                  <a:cubicBezTo>
                    <a:pt x="1144" y="0"/>
                    <a:pt x="816" y="392"/>
                    <a:pt x="981" y="926"/>
                  </a:cubicBezTo>
                  <a:lnTo>
                    <a:pt x="981" y="926"/>
                  </a:lnTo>
                  <a:cubicBezTo>
                    <a:pt x="1048" y="1140"/>
                    <a:pt x="872" y="1310"/>
                    <a:pt x="548" y="1420"/>
                  </a:cubicBezTo>
                  <a:lnTo>
                    <a:pt x="548" y="1420"/>
                  </a:lnTo>
                  <a:cubicBezTo>
                    <a:pt x="90" y="1575"/>
                    <a:pt x="0" y="1829"/>
                    <a:pt x="0" y="2062"/>
                  </a:cubicBezTo>
                  <a:lnTo>
                    <a:pt x="0" y="2062"/>
                  </a:lnTo>
                  <a:cubicBezTo>
                    <a:pt x="0" y="2291"/>
                    <a:pt x="166" y="2498"/>
                    <a:pt x="433" y="2647"/>
                  </a:cubicBezTo>
                  <a:lnTo>
                    <a:pt x="433" y="2647"/>
                  </a:lnTo>
                  <a:cubicBezTo>
                    <a:pt x="603" y="2742"/>
                    <a:pt x="667" y="2956"/>
                    <a:pt x="573" y="3128"/>
                  </a:cubicBezTo>
                  <a:lnTo>
                    <a:pt x="573" y="3128"/>
                  </a:lnTo>
                  <a:cubicBezTo>
                    <a:pt x="524" y="3219"/>
                    <a:pt x="493" y="3305"/>
                    <a:pt x="493" y="3363"/>
                  </a:cubicBezTo>
                  <a:lnTo>
                    <a:pt x="493" y="3363"/>
                  </a:lnTo>
                  <a:cubicBezTo>
                    <a:pt x="493" y="3713"/>
                    <a:pt x="898" y="4166"/>
                    <a:pt x="2178" y="4166"/>
                  </a:cubicBezTo>
                  <a:lnTo>
                    <a:pt x="2178" y="4166"/>
                  </a:lnTo>
                  <a:cubicBezTo>
                    <a:pt x="2437" y="4166"/>
                    <a:pt x="4579" y="4509"/>
                    <a:pt x="4859" y="4509"/>
                  </a:cubicBezTo>
                  <a:lnTo>
                    <a:pt x="4859" y="4509"/>
                  </a:lnTo>
                  <a:cubicBezTo>
                    <a:pt x="5489" y="4509"/>
                    <a:pt x="5895" y="4162"/>
                    <a:pt x="5967" y="3932"/>
                  </a:cubicBezTo>
                  <a:lnTo>
                    <a:pt x="5967" y="3932"/>
                  </a:lnTo>
                  <a:cubicBezTo>
                    <a:pt x="5985" y="3874"/>
                    <a:pt x="5980" y="3779"/>
                    <a:pt x="5959" y="3693"/>
                  </a:cubicBezTo>
                  <a:lnTo>
                    <a:pt x="5959" y="3693"/>
                  </a:lnTo>
                  <a:cubicBezTo>
                    <a:pt x="5934" y="3588"/>
                    <a:pt x="5951" y="3477"/>
                    <a:pt x="6005" y="3383"/>
                  </a:cubicBezTo>
                  <a:lnTo>
                    <a:pt x="6005" y="3383"/>
                  </a:lnTo>
                  <a:cubicBezTo>
                    <a:pt x="6120" y="3181"/>
                    <a:pt x="6179" y="2959"/>
                    <a:pt x="6168" y="2728"/>
                  </a:cubicBezTo>
                </a:path>
              </a:pathLst>
            </a:custGeom>
            <a:solidFill>
              <a:srgbClr val="FF6F6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61" name="Freeform 3">
              <a:extLst>
                <a:ext uri="{FF2B5EF4-FFF2-40B4-BE49-F238E27FC236}">
                  <a16:creationId xmlns:a16="http://schemas.microsoft.com/office/drawing/2014/main" id="{EDB873F3-50F4-6BD5-4F1D-066FD77B7E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8450" y="10324750"/>
              <a:ext cx="374916" cy="323004"/>
            </a:xfrm>
            <a:custGeom>
              <a:avLst/>
              <a:gdLst>
                <a:gd name="T0" fmla="*/ 85 w 285"/>
                <a:gd name="T1" fmla="*/ 244 h 245"/>
                <a:gd name="T2" fmla="*/ 23 w 285"/>
                <a:gd name="T3" fmla="*/ 244 h 245"/>
                <a:gd name="T4" fmla="*/ 23 w 285"/>
                <a:gd name="T5" fmla="*/ 244 h 245"/>
                <a:gd name="T6" fmla="*/ 0 w 285"/>
                <a:gd name="T7" fmla="*/ 219 h 245"/>
                <a:gd name="T8" fmla="*/ 0 w 285"/>
                <a:gd name="T9" fmla="*/ 219 h 245"/>
                <a:gd name="T10" fmla="*/ 23 w 285"/>
                <a:gd name="T11" fmla="*/ 155 h 245"/>
                <a:gd name="T12" fmla="*/ 49 w 285"/>
                <a:gd name="T13" fmla="*/ 124 h 245"/>
                <a:gd name="T14" fmla="*/ 49 w 285"/>
                <a:gd name="T15" fmla="*/ 124 h 245"/>
                <a:gd name="T16" fmla="*/ 120 w 285"/>
                <a:gd name="T17" fmla="*/ 15 h 245"/>
                <a:gd name="T18" fmla="*/ 128 w 285"/>
                <a:gd name="T19" fmla="*/ 0 h 245"/>
                <a:gd name="T20" fmla="*/ 282 w 285"/>
                <a:gd name="T21" fmla="*/ 0 h 245"/>
                <a:gd name="T22" fmla="*/ 282 w 285"/>
                <a:gd name="T23" fmla="*/ 44 h 245"/>
                <a:gd name="T24" fmla="*/ 283 w 285"/>
                <a:gd name="T25" fmla="*/ 86 h 245"/>
                <a:gd name="T26" fmla="*/ 283 w 285"/>
                <a:gd name="T27" fmla="*/ 86 h 245"/>
                <a:gd name="T28" fmla="*/ 252 w 285"/>
                <a:gd name="T29" fmla="*/ 142 h 245"/>
                <a:gd name="T30" fmla="*/ 244 w 285"/>
                <a:gd name="T31" fmla="*/ 146 h 245"/>
                <a:gd name="T32" fmla="*/ 244 w 285"/>
                <a:gd name="T33" fmla="*/ 146 h 245"/>
                <a:gd name="T34" fmla="*/ 191 w 285"/>
                <a:gd name="T35" fmla="*/ 188 h 245"/>
                <a:gd name="T36" fmla="*/ 191 w 285"/>
                <a:gd name="T37" fmla="*/ 188 h 245"/>
                <a:gd name="T38" fmla="*/ 190 w 285"/>
                <a:gd name="T39" fmla="*/ 190 h 245"/>
                <a:gd name="T40" fmla="*/ 190 w 285"/>
                <a:gd name="T41" fmla="*/ 190 h 245"/>
                <a:gd name="T42" fmla="*/ 140 w 285"/>
                <a:gd name="T43" fmla="*/ 230 h 245"/>
                <a:gd name="T44" fmla="*/ 140 w 285"/>
                <a:gd name="T45" fmla="*/ 230 h 245"/>
                <a:gd name="T46" fmla="*/ 85 w 285"/>
                <a:gd name="T47" fmla="*/ 24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5" h="245">
                  <a:moveTo>
                    <a:pt x="85" y="244"/>
                  </a:moveTo>
                  <a:lnTo>
                    <a:pt x="23" y="244"/>
                  </a:lnTo>
                  <a:lnTo>
                    <a:pt x="23" y="244"/>
                  </a:lnTo>
                  <a:cubicBezTo>
                    <a:pt x="10" y="244"/>
                    <a:pt x="0" y="233"/>
                    <a:pt x="0" y="219"/>
                  </a:cubicBezTo>
                  <a:lnTo>
                    <a:pt x="0" y="219"/>
                  </a:lnTo>
                  <a:cubicBezTo>
                    <a:pt x="0" y="195"/>
                    <a:pt x="8" y="172"/>
                    <a:pt x="23" y="155"/>
                  </a:cubicBezTo>
                  <a:lnTo>
                    <a:pt x="49" y="124"/>
                  </a:lnTo>
                  <a:lnTo>
                    <a:pt x="49" y="124"/>
                  </a:lnTo>
                  <a:cubicBezTo>
                    <a:pt x="77" y="92"/>
                    <a:pt x="101" y="55"/>
                    <a:pt x="120" y="15"/>
                  </a:cubicBezTo>
                  <a:lnTo>
                    <a:pt x="128" y="0"/>
                  </a:lnTo>
                  <a:lnTo>
                    <a:pt x="282" y="0"/>
                  </a:lnTo>
                  <a:lnTo>
                    <a:pt x="282" y="44"/>
                  </a:lnTo>
                  <a:lnTo>
                    <a:pt x="283" y="86"/>
                  </a:lnTo>
                  <a:lnTo>
                    <a:pt x="283" y="86"/>
                  </a:lnTo>
                  <a:cubicBezTo>
                    <a:pt x="284" y="110"/>
                    <a:pt x="271" y="132"/>
                    <a:pt x="252" y="142"/>
                  </a:cubicBezTo>
                  <a:lnTo>
                    <a:pt x="244" y="146"/>
                  </a:lnTo>
                  <a:lnTo>
                    <a:pt x="244" y="146"/>
                  </a:lnTo>
                  <a:cubicBezTo>
                    <a:pt x="224" y="157"/>
                    <a:pt x="206" y="171"/>
                    <a:pt x="191" y="188"/>
                  </a:cubicBezTo>
                  <a:lnTo>
                    <a:pt x="191" y="188"/>
                  </a:lnTo>
                  <a:cubicBezTo>
                    <a:pt x="191" y="189"/>
                    <a:pt x="191" y="189"/>
                    <a:pt x="190" y="190"/>
                  </a:cubicBezTo>
                  <a:lnTo>
                    <a:pt x="190" y="190"/>
                  </a:lnTo>
                  <a:cubicBezTo>
                    <a:pt x="176" y="207"/>
                    <a:pt x="156" y="221"/>
                    <a:pt x="140" y="230"/>
                  </a:cubicBezTo>
                  <a:lnTo>
                    <a:pt x="140" y="230"/>
                  </a:lnTo>
                  <a:cubicBezTo>
                    <a:pt x="123" y="239"/>
                    <a:pt x="104" y="244"/>
                    <a:pt x="85" y="24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62" name="Freeform 4">
              <a:extLst>
                <a:ext uri="{FF2B5EF4-FFF2-40B4-BE49-F238E27FC236}">
                  <a16:creationId xmlns:a16="http://schemas.microsoft.com/office/drawing/2014/main" id="{F053F3A0-56C9-8B0D-A073-C7FF2CE80D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40262" y="10324750"/>
              <a:ext cx="369147" cy="323004"/>
            </a:xfrm>
            <a:custGeom>
              <a:avLst/>
              <a:gdLst>
                <a:gd name="T0" fmla="*/ 85 w 284"/>
                <a:gd name="T1" fmla="*/ 244 h 245"/>
                <a:gd name="T2" fmla="*/ 23 w 284"/>
                <a:gd name="T3" fmla="*/ 244 h 245"/>
                <a:gd name="T4" fmla="*/ 23 w 284"/>
                <a:gd name="T5" fmla="*/ 244 h 245"/>
                <a:gd name="T6" fmla="*/ 0 w 284"/>
                <a:gd name="T7" fmla="*/ 219 h 245"/>
                <a:gd name="T8" fmla="*/ 0 w 284"/>
                <a:gd name="T9" fmla="*/ 219 h 245"/>
                <a:gd name="T10" fmla="*/ 23 w 284"/>
                <a:gd name="T11" fmla="*/ 155 h 245"/>
                <a:gd name="T12" fmla="*/ 49 w 284"/>
                <a:gd name="T13" fmla="*/ 124 h 245"/>
                <a:gd name="T14" fmla="*/ 49 w 284"/>
                <a:gd name="T15" fmla="*/ 124 h 245"/>
                <a:gd name="T16" fmla="*/ 120 w 284"/>
                <a:gd name="T17" fmla="*/ 15 h 245"/>
                <a:gd name="T18" fmla="*/ 128 w 284"/>
                <a:gd name="T19" fmla="*/ 0 h 245"/>
                <a:gd name="T20" fmla="*/ 282 w 284"/>
                <a:gd name="T21" fmla="*/ 0 h 245"/>
                <a:gd name="T22" fmla="*/ 282 w 284"/>
                <a:gd name="T23" fmla="*/ 44 h 245"/>
                <a:gd name="T24" fmla="*/ 283 w 284"/>
                <a:gd name="T25" fmla="*/ 86 h 245"/>
                <a:gd name="T26" fmla="*/ 283 w 284"/>
                <a:gd name="T27" fmla="*/ 86 h 245"/>
                <a:gd name="T28" fmla="*/ 252 w 284"/>
                <a:gd name="T29" fmla="*/ 142 h 245"/>
                <a:gd name="T30" fmla="*/ 244 w 284"/>
                <a:gd name="T31" fmla="*/ 146 h 245"/>
                <a:gd name="T32" fmla="*/ 244 w 284"/>
                <a:gd name="T33" fmla="*/ 146 h 245"/>
                <a:gd name="T34" fmla="*/ 191 w 284"/>
                <a:gd name="T35" fmla="*/ 188 h 245"/>
                <a:gd name="T36" fmla="*/ 191 w 284"/>
                <a:gd name="T37" fmla="*/ 188 h 245"/>
                <a:gd name="T38" fmla="*/ 190 w 284"/>
                <a:gd name="T39" fmla="*/ 190 h 245"/>
                <a:gd name="T40" fmla="*/ 190 w 284"/>
                <a:gd name="T41" fmla="*/ 190 h 245"/>
                <a:gd name="T42" fmla="*/ 140 w 284"/>
                <a:gd name="T43" fmla="*/ 230 h 245"/>
                <a:gd name="T44" fmla="*/ 140 w 284"/>
                <a:gd name="T45" fmla="*/ 230 h 245"/>
                <a:gd name="T46" fmla="*/ 85 w 284"/>
                <a:gd name="T47" fmla="*/ 24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4" h="245">
                  <a:moveTo>
                    <a:pt x="85" y="244"/>
                  </a:moveTo>
                  <a:lnTo>
                    <a:pt x="23" y="244"/>
                  </a:lnTo>
                  <a:lnTo>
                    <a:pt x="23" y="244"/>
                  </a:lnTo>
                  <a:cubicBezTo>
                    <a:pt x="10" y="244"/>
                    <a:pt x="0" y="233"/>
                    <a:pt x="0" y="219"/>
                  </a:cubicBezTo>
                  <a:lnTo>
                    <a:pt x="0" y="219"/>
                  </a:lnTo>
                  <a:cubicBezTo>
                    <a:pt x="0" y="195"/>
                    <a:pt x="8" y="172"/>
                    <a:pt x="23" y="155"/>
                  </a:cubicBezTo>
                  <a:lnTo>
                    <a:pt x="49" y="124"/>
                  </a:lnTo>
                  <a:lnTo>
                    <a:pt x="49" y="124"/>
                  </a:lnTo>
                  <a:cubicBezTo>
                    <a:pt x="77" y="92"/>
                    <a:pt x="101" y="55"/>
                    <a:pt x="120" y="15"/>
                  </a:cubicBezTo>
                  <a:lnTo>
                    <a:pt x="128" y="0"/>
                  </a:lnTo>
                  <a:lnTo>
                    <a:pt x="282" y="0"/>
                  </a:lnTo>
                  <a:lnTo>
                    <a:pt x="282" y="44"/>
                  </a:lnTo>
                  <a:lnTo>
                    <a:pt x="283" y="86"/>
                  </a:lnTo>
                  <a:lnTo>
                    <a:pt x="283" y="86"/>
                  </a:lnTo>
                  <a:cubicBezTo>
                    <a:pt x="283" y="110"/>
                    <a:pt x="271" y="132"/>
                    <a:pt x="252" y="142"/>
                  </a:cubicBezTo>
                  <a:lnTo>
                    <a:pt x="244" y="146"/>
                  </a:lnTo>
                  <a:lnTo>
                    <a:pt x="244" y="146"/>
                  </a:lnTo>
                  <a:cubicBezTo>
                    <a:pt x="224" y="157"/>
                    <a:pt x="207" y="171"/>
                    <a:pt x="191" y="188"/>
                  </a:cubicBezTo>
                  <a:lnTo>
                    <a:pt x="191" y="188"/>
                  </a:lnTo>
                  <a:cubicBezTo>
                    <a:pt x="191" y="189"/>
                    <a:pt x="191" y="189"/>
                    <a:pt x="190" y="190"/>
                  </a:cubicBezTo>
                  <a:lnTo>
                    <a:pt x="190" y="190"/>
                  </a:lnTo>
                  <a:cubicBezTo>
                    <a:pt x="176" y="207"/>
                    <a:pt x="156" y="221"/>
                    <a:pt x="140" y="230"/>
                  </a:cubicBezTo>
                  <a:lnTo>
                    <a:pt x="140" y="230"/>
                  </a:lnTo>
                  <a:cubicBezTo>
                    <a:pt x="123" y="239"/>
                    <a:pt x="104" y="244"/>
                    <a:pt x="85" y="24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63" name="Freeform 5">
              <a:extLst>
                <a:ext uri="{FF2B5EF4-FFF2-40B4-BE49-F238E27FC236}">
                  <a16:creationId xmlns:a16="http://schemas.microsoft.com/office/drawing/2014/main" id="{F1565DBA-7E81-FFA8-D4B1-D19C3FF58F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42277" y="8404033"/>
              <a:ext cx="1009386" cy="1966860"/>
            </a:xfrm>
            <a:custGeom>
              <a:avLst/>
              <a:gdLst>
                <a:gd name="T0" fmla="*/ 698 w 770"/>
                <a:gd name="T1" fmla="*/ 0 h 1504"/>
                <a:gd name="T2" fmla="*/ 198 w 770"/>
                <a:gd name="T3" fmla="*/ 0 h 1504"/>
                <a:gd name="T4" fmla="*/ 198 w 770"/>
                <a:gd name="T5" fmla="*/ 0 h 1504"/>
                <a:gd name="T6" fmla="*/ 5 w 770"/>
                <a:gd name="T7" fmla="*/ 699 h 1504"/>
                <a:gd name="T8" fmla="*/ 5 w 770"/>
                <a:gd name="T9" fmla="*/ 699 h 1504"/>
                <a:gd name="T10" fmla="*/ 19 w 770"/>
                <a:gd name="T11" fmla="*/ 1467 h 1504"/>
                <a:gd name="T12" fmla="*/ 19 w 770"/>
                <a:gd name="T13" fmla="*/ 1467 h 1504"/>
                <a:gd name="T14" fmla="*/ 123 w 770"/>
                <a:gd name="T15" fmla="*/ 1502 h 1504"/>
                <a:gd name="T16" fmla="*/ 123 w 770"/>
                <a:gd name="T17" fmla="*/ 1502 h 1504"/>
                <a:gd name="T18" fmla="*/ 223 w 770"/>
                <a:gd name="T19" fmla="*/ 1467 h 1504"/>
                <a:gd name="T20" fmla="*/ 266 w 770"/>
                <a:gd name="T21" fmla="*/ 750 h 1504"/>
                <a:gd name="T22" fmla="*/ 266 w 770"/>
                <a:gd name="T23" fmla="*/ 750 h 1504"/>
                <a:gd name="T24" fmla="*/ 318 w 770"/>
                <a:gd name="T25" fmla="*/ 639 h 1504"/>
                <a:gd name="T26" fmla="*/ 318 w 770"/>
                <a:gd name="T27" fmla="*/ 639 h 1504"/>
                <a:gd name="T28" fmla="*/ 321 w 770"/>
                <a:gd name="T29" fmla="*/ 704 h 1504"/>
                <a:gd name="T30" fmla="*/ 321 w 770"/>
                <a:gd name="T31" fmla="*/ 704 h 1504"/>
                <a:gd name="T32" fmla="*/ 403 w 770"/>
                <a:gd name="T33" fmla="*/ 1467 h 1504"/>
                <a:gd name="T34" fmla="*/ 403 w 770"/>
                <a:gd name="T35" fmla="*/ 1467 h 1504"/>
                <a:gd name="T36" fmla="*/ 502 w 770"/>
                <a:gd name="T37" fmla="*/ 1502 h 1504"/>
                <a:gd name="T38" fmla="*/ 502 w 770"/>
                <a:gd name="T39" fmla="*/ 1502 h 1504"/>
                <a:gd name="T40" fmla="*/ 600 w 770"/>
                <a:gd name="T41" fmla="*/ 1467 h 1504"/>
                <a:gd name="T42" fmla="*/ 584 w 770"/>
                <a:gd name="T43" fmla="*/ 722 h 1504"/>
                <a:gd name="T44" fmla="*/ 584 w 770"/>
                <a:gd name="T45" fmla="*/ 722 h 1504"/>
                <a:gd name="T46" fmla="*/ 698 w 770"/>
                <a:gd name="T47" fmla="*/ 0 h 1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0" h="1504">
                  <a:moveTo>
                    <a:pt x="698" y="0"/>
                  </a:moveTo>
                  <a:lnTo>
                    <a:pt x="198" y="0"/>
                  </a:lnTo>
                  <a:lnTo>
                    <a:pt x="198" y="0"/>
                  </a:lnTo>
                  <a:cubicBezTo>
                    <a:pt x="198" y="0"/>
                    <a:pt x="0" y="538"/>
                    <a:pt x="5" y="699"/>
                  </a:cubicBezTo>
                  <a:lnTo>
                    <a:pt x="5" y="699"/>
                  </a:lnTo>
                  <a:cubicBezTo>
                    <a:pt x="6" y="772"/>
                    <a:pt x="19" y="1467"/>
                    <a:pt x="19" y="1467"/>
                  </a:cubicBezTo>
                  <a:lnTo>
                    <a:pt x="19" y="1467"/>
                  </a:lnTo>
                  <a:cubicBezTo>
                    <a:pt x="19" y="1467"/>
                    <a:pt x="53" y="1503"/>
                    <a:pt x="123" y="1502"/>
                  </a:cubicBezTo>
                  <a:lnTo>
                    <a:pt x="123" y="1502"/>
                  </a:lnTo>
                  <a:cubicBezTo>
                    <a:pt x="190" y="1502"/>
                    <a:pt x="223" y="1467"/>
                    <a:pt x="223" y="1467"/>
                  </a:cubicBezTo>
                  <a:lnTo>
                    <a:pt x="266" y="750"/>
                  </a:lnTo>
                  <a:lnTo>
                    <a:pt x="266" y="750"/>
                  </a:lnTo>
                  <a:cubicBezTo>
                    <a:pt x="266" y="750"/>
                    <a:pt x="288" y="706"/>
                    <a:pt x="318" y="639"/>
                  </a:cubicBezTo>
                  <a:lnTo>
                    <a:pt x="318" y="639"/>
                  </a:lnTo>
                  <a:cubicBezTo>
                    <a:pt x="319" y="662"/>
                    <a:pt x="320" y="684"/>
                    <a:pt x="321" y="704"/>
                  </a:cubicBezTo>
                  <a:lnTo>
                    <a:pt x="321" y="704"/>
                  </a:lnTo>
                  <a:cubicBezTo>
                    <a:pt x="327" y="818"/>
                    <a:pt x="403" y="1467"/>
                    <a:pt x="403" y="1467"/>
                  </a:cubicBezTo>
                  <a:lnTo>
                    <a:pt x="403" y="1467"/>
                  </a:lnTo>
                  <a:cubicBezTo>
                    <a:pt x="403" y="1467"/>
                    <a:pt x="434" y="1502"/>
                    <a:pt x="502" y="1502"/>
                  </a:cubicBezTo>
                  <a:lnTo>
                    <a:pt x="502" y="1502"/>
                  </a:lnTo>
                  <a:cubicBezTo>
                    <a:pt x="568" y="1502"/>
                    <a:pt x="600" y="1467"/>
                    <a:pt x="600" y="1467"/>
                  </a:cubicBezTo>
                  <a:lnTo>
                    <a:pt x="584" y="722"/>
                  </a:lnTo>
                  <a:lnTo>
                    <a:pt x="584" y="722"/>
                  </a:lnTo>
                  <a:cubicBezTo>
                    <a:pt x="584" y="722"/>
                    <a:pt x="769" y="298"/>
                    <a:pt x="698" y="0"/>
                  </a:cubicBezTo>
                </a:path>
              </a:pathLst>
            </a:custGeom>
            <a:solidFill>
              <a:srgbClr val="38363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64" name="Freeform 6">
              <a:extLst>
                <a:ext uri="{FF2B5EF4-FFF2-40B4-BE49-F238E27FC236}">
                  <a16:creationId xmlns:a16="http://schemas.microsoft.com/office/drawing/2014/main" id="{D4677FFC-500B-6806-7D3F-17F1684AAF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03775" y="8853930"/>
              <a:ext cx="282630" cy="1522729"/>
            </a:xfrm>
            <a:custGeom>
              <a:avLst/>
              <a:gdLst>
                <a:gd name="T0" fmla="*/ 11 w 217"/>
                <a:gd name="T1" fmla="*/ 567 h 1162"/>
                <a:gd name="T2" fmla="*/ 0 w 217"/>
                <a:gd name="T3" fmla="*/ 1161 h 1162"/>
                <a:gd name="T4" fmla="*/ 0 w 217"/>
                <a:gd name="T5" fmla="*/ 1161 h 1162"/>
                <a:gd name="T6" fmla="*/ 99 w 217"/>
                <a:gd name="T7" fmla="*/ 1126 h 1162"/>
                <a:gd name="T8" fmla="*/ 142 w 217"/>
                <a:gd name="T9" fmla="*/ 409 h 1162"/>
                <a:gd name="T10" fmla="*/ 142 w 217"/>
                <a:gd name="T11" fmla="*/ 409 h 1162"/>
                <a:gd name="T12" fmla="*/ 194 w 217"/>
                <a:gd name="T13" fmla="*/ 298 h 1162"/>
                <a:gd name="T14" fmla="*/ 216 w 217"/>
                <a:gd name="T15" fmla="*/ 0 h 1162"/>
                <a:gd name="T16" fmla="*/ 58 w 217"/>
                <a:gd name="T17" fmla="*/ 319 h 1162"/>
                <a:gd name="T18" fmla="*/ 58 w 217"/>
                <a:gd name="T19" fmla="*/ 319 h 1162"/>
                <a:gd name="T20" fmla="*/ 11 w 217"/>
                <a:gd name="T21" fmla="*/ 567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7" h="1162">
                  <a:moveTo>
                    <a:pt x="11" y="567"/>
                  </a:moveTo>
                  <a:lnTo>
                    <a:pt x="0" y="1161"/>
                  </a:lnTo>
                  <a:lnTo>
                    <a:pt x="0" y="1161"/>
                  </a:lnTo>
                  <a:cubicBezTo>
                    <a:pt x="66" y="1160"/>
                    <a:pt x="99" y="1126"/>
                    <a:pt x="99" y="1126"/>
                  </a:cubicBezTo>
                  <a:lnTo>
                    <a:pt x="142" y="409"/>
                  </a:lnTo>
                  <a:lnTo>
                    <a:pt x="142" y="409"/>
                  </a:lnTo>
                  <a:cubicBezTo>
                    <a:pt x="142" y="409"/>
                    <a:pt x="164" y="365"/>
                    <a:pt x="194" y="298"/>
                  </a:cubicBezTo>
                  <a:lnTo>
                    <a:pt x="216" y="0"/>
                  </a:lnTo>
                  <a:lnTo>
                    <a:pt x="58" y="319"/>
                  </a:lnTo>
                  <a:lnTo>
                    <a:pt x="58" y="319"/>
                  </a:lnTo>
                  <a:cubicBezTo>
                    <a:pt x="29" y="398"/>
                    <a:pt x="13" y="481"/>
                    <a:pt x="11" y="567"/>
                  </a:cubicBezTo>
                </a:path>
              </a:pathLst>
            </a:custGeom>
            <a:solidFill>
              <a:srgbClr val="2121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id="{4E423F02-807E-31C0-1C1C-077D27EAE2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17464" y="4983662"/>
              <a:ext cx="501806" cy="1124741"/>
            </a:xfrm>
            <a:custGeom>
              <a:avLst/>
              <a:gdLst>
                <a:gd name="T0" fmla="*/ 369 w 383"/>
                <a:gd name="T1" fmla="*/ 73 h 860"/>
                <a:gd name="T2" fmla="*/ 369 w 383"/>
                <a:gd name="T3" fmla="*/ 73 h 860"/>
                <a:gd name="T4" fmla="*/ 269 w 383"/>
                <a:gd name="T5" fmla="*/ 64 h 860"/>
                <a:gd name="T6" fmla="*/ 269 w 383"/>
                <a:gd name="T7" fmla="*/ 64 h 860"/>
                <a:gd name="T8" fmla="*/ 372 w 383"/>
                <a:gd name="T9" fmla="*/ 65 h 860"/>
                <a:gd name="T10" fmla="*/ 372 w 383"/>
                <a:gd name="T11" fmla="*/ 65 h 860"/>
                <a:gd name="T12" fmla="*/ 373 w 383"/>
                <a:gd name="T13" fmla="*/ 68 h 860"/>
                <a:gd name="T14" fmla="*/ 373 w 383"/>
                <a:gd name="T15" fmla="*/ 68 h 860"/>
                <a:gd name="T16" fmla="*/ 369 w 383"/>
                <a:gd name="T17" fmla="*/ 73 h 860"/>
                <a:gd name="T18" fmla="*/ 353 w 383"/>
                <a:gd name="T19" fmla="*/ 13 h 860"/>
                <a:gd name="T20" fmla="*/ 353 w 383"/>
                <a:gd name="T21" fmla="*/ 13 h 860"/>
                <a:gd name="T22" fmla="*/ 356 w 383"/>
                <a:gd name="T23" fmla="*/ 13 h 860"/>
                <a:gd name="T24" fmla="*/ 356 w 383"/>
                <a:gd name="T25" fmla="*/ 13 h 860"/>
                <a:gd name="T26" fmla="*/ 357 w 383"/>
                <a:gd name="T27" fmla="*/ 15 h 860"/>
                <a:gd name="T28" fmla="*/ 357 w 383"/>
                <a:gd name="T29" fmla="*/ 15 h 860"/>
                <a:gd name="T30" fmla="*/ 358 w 383"/>
                <a:gd name="T31" fmla="*/ 22 h 860"/>
                <a:gd name="T32" fmla="*/ 358 w 383"/>
                <a:gd name="T33" fmla="*/ 22 h 860"/>
                <a:gd name="T34" fmla="*/ 271 w 383"/>
                <a:gd name="T35" fmla="*/ 54 h 860"/>
                <a:gd name="T36" fmla="*/ 271 w 383"/>
                <a:gd name="T37" fmla="*/ 54 h 860"/>
                <a:gd name="T38" fmla="*/ 353 w 383"/>
                <a:gd name="T39" fmla="*/ 13 h 860"/>
                <a:gd name="T40" fmla="*/ 378 w 383"/>
                <a:gd name="T41" fmla="*/ 59 h 860"/>
                <a:gd name="T42" fmla="*/ 378 w 383"/>
                <a:gd name="T43" fmla="*/ 59 h 860"/>
                <a:gd name="T44" fmla="*/ 315 w 383"/>
                <a:gd name="T45" fmla="*/ 51 h 860"/>
                <a:gd name="T46" fmla="*/ 315 w 383"/>
                <a:gd name="T47" fmla="*/ 51 h 860"/>
                <a:gd name="T48" fmla="*/ 365 w 383"/>
                <a:gd name="T49" fmla="*/ 26 h 860"/>
                <a:gd name="T50" fmla="*/ 365 w 383"/>
                <a:gd name="T51" fmla="*/ 26 h 860"/>
                <a:gd name="T52" fmla="*/ 364 w 383"/>
                <a:gd name="T53" fmla="*/ 11 h 860"/>
                <a:gd name="T54" fmla="*/ 364 w 383"/>
                <a:gd name="T55" fmla="*/ 11 h 860"/>
                <a:gd name="T56" fmla="*/ 358 w 383"/>
                <a:gd name="T57" fmla="*/ 5 h 860"/>
                <a:gd name="T58" fmla="*/ 358 w 383"/>
                <a:gd name="T59" fmla="*/ 5 h 860"/>
                <a:gd name="T60" fmla="*/ 249 w 383"/>
                <a:gd name="T61" fmla="*/ 59 h 860"/>
                <a:gd name="T62" fmla="*/ 249 w 383"/>
                <a:gd name="T63" fmla="*/ 59 h 860"/>
                <a:gd name="T64" fmla="*/ 249 w 383"/>
                <a:gd name="T65" fmla="*/ 59 h 860"/>
                <a:gd name="T66" fmla="*/ 249 w 383"/>
                <a:gd name="T67" fmla="*/ 59 h 860"/>
                <a:gd name="T68" fmla="*/ 208 w 383"/>
                <a:gd name="T69" fmla="*/ 409 h 860"/>
                <a:gd name="T70" fmla="*/ 208 w 383"/>
                <a:gd name="T71" fmla="*/ 409 h 860"/>
                <a:gd name="T72" fmla="*/ 191 w 383"/>
                <a:gd name="T73" fmla="*/ 784 h 860"/>
                <a:gd name="T74" fmla="*/ 191 w 383"/>
                <a:gd name="T75" fmla="*/ 784 h 860"/>
                <a:gd name="T76" fmla="*/ 24 w 383"/>
                <a:gd name="T77" fmla="*/ 851 h 860"/>
                <a:gd name="T78" fmla="*/ 24 w 383"/>
                <a:gd name="T79" fmla="*/ 851 h 860"/>
                <a:gd name="T80" fmla="*/ 0 w 383"/>
                <a:gd name="T81" fmla="*/ 851 h 860"/>
                <a:gd name="T82" fmla="*/ 0 w 383"/>
                <a:gd name="T83" fmla="*/ 859 h 860"/>
                <a:gd name="T84" fmla="*/ 0 w 383"/>
                <a:gd name="T85" fmla="*/ 859 h 860"/>
                <a:gd name="T86" fmla="*/ 10 w 383"/>
                <a:gd name="T87" fmla="*/ 859 h 860"/>
                <a:gd name="T88" fmla="*/ 10 w 383"/>
                <a:gd name="T89" fmla="*/ 859 h 860"/>
                <a:gd name="T90" fmla="*/ 25 w 383"/>
                <a:gd name="T91" fmla="*/ 859 h 860"/>
                <a:gd name="T92" fmla="*/ 25 w 383"/>
                <a:gd name="T93" fmla="*/ 859 h 860"/>
                <a:gd name="T94" fmla="*/ 197 w 383"/>
                <a:gd name="T95" fmla="*/ 789 h 860"/>
                <a:gd name="T96" fmla="*/ 197 w 383"/>
                <a:gd name="T97" fmla="*/ 789 h 860"/>
                <a:gd name="T98" fmla="*/ 216 w 383"/>
                <a:gd name="T99" fmla="*/ 407 h 860"/>
                <a:gd name="T100" fmla="*/ 216 w 383"/>
                <a:gd name="T101" fmla="*/ 407 h 860"/>
                <a:gd name="T102" fmla="*/ 251 w 383"/>
                <a:gd name="T103" fmla="*/ 67 h 860"/>
                <a:gd name="T104" fmla="*/ 251 w 383"/>
                <a:gd name="T105" fmla="*/ 67 h 860"/>
                <a:gd name="T106" fmla="*/ 373 w 383"/>
                <a:gd name="T107" fmla="*/ 80 h 860"/>
                <a:gd name="T108" fmla="*/ 373 w 383"/>
                <a:gd name="T109" fmla="*/ 80 h 860"/>
                <a:gd name="T110" fmla="*/ 381 w 383"/>
                <a:gd name="T111" fmla="*/ 69 h 860"/>
                <a:gd name="T112" fmla="*/ 381 w 383"/>
                <a:gd name="T113" fmla="*/ 69 h 860"/>
                <a:gd name="T114" fmla="*/ 378 w 383"/>
                <a:gd name="T115" fmla="*/ 59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3" h="860">
                  <a:moveTo>
                    <a:pt x="369" y="73"/>
                  </a:moveTo>
                  <a:lnTo>
                    <a:pt x="369" y="73"/>
                  </a:lnTo>
                  <a:cubicBezTo>
                    <a:pt x="353" y="83"/>
                    <a:pt x="302" y="72"/>
                    <a:pt x="269" y="64"/>
                  </a:cubicBezTo>
                  <a:lnTo>
                    <a:pt x="269" y="64"/>
                  </a:lnTo>
                  <a:cubicBezTo>
                    <a:pt x="310" y="58"/>
                    <a:pt x="363" y="55"/>
                    <a:pt x="372" y="65"/>
                  </a:cubicBezTo>
                  <a:lnTo>
                    <a:pt x="372" y="65"/>
                  </a:lnTo>
                  <a:cubicBezTo>
                    <a:pt x="373" y="65"/>
                    <a:pt x="373" y="67"/>
                    <a:pt x="373" y="68"/>
                  </a:cubicBezTo>
                  <a:lnTo>
                    <a:pt x="373" y="68"/>
                  </a:lnTo>
                  <a:cubicBezTo>
                    <a:pt x="373" y="70"/>
                    <a:pt x="371" y="72"/>
                    <a:pt x="369" y="73"/>
                  </a:cubicBezTo>
                  <a:close/>
                  <a:moveTo>
                    <a:pt x="353" y="13"/>
                  </a:moveTo>
                  <a:lnTo>
                    <a:pt x="353" y="13"/>
                  </a:lnTo>
                  <a:cubicBezTo>
                    <a:pt x="354" y="13"/>
                    <a:pt x="355" y="13"/>
                    <a:pt x="356" y="13"/>
                  </a:cubicBezTo>
                  <a:lnTo>
                    <a:pt x="356" y="13"/>
                  </a:lnTo>
                  <a:cubicBezTo>
                    <a:pt x="356" y="14"/>
                    <a:pt x="357" y="14"/>
                    <a:pt x="357" y="15"/>
                  </a:cubicBezTo>
                  <a:lnTo>
                    <a:pt x="357" y="15"/>
                  </a:lnTo>
                  <a:cubicBezTo>
                    <a:pt x="359" y="18"/>
                    <a:pt x="359" y="21"/>
                    <a:pt x="358" y="22"/>
                  </a:cubicBezTo>
                  <a:lnTo>
                    <a:pt x="358" y="22"/>
                  </a:lnTo>
                  <a:cubicBezTo>
                    <a:pt x="354" y="31"/>
                    <a:pt x="328" y="41"/>
                    <a:pt x="271" y="54"/>
                  </a:cubicBezTo>
                  <a:lnTo>
                    <a:pt x="271" y="54"/>
                  </a:lnTo>
                  <a:cubicBezTo>
                    <a:pt x="301" y="35"/>
                    <a:pt x="339" y="13"/>
                    <a:pt x="353" y="13"/>
                  </a:cubicBezTo>
                  <a:close/>
                  <a:moveTo>
                    <a:pt x="378" y="59"/>
                  </a:moveTo>
                  <a:lnTo>
                    <a:pt x="378" y="59"/>
                  </a:lnTo>
                  <a:cubicBezTo>
                    <a:pt x="370" y="50"/>
                    <a:pt x="342" y="49"/>
                    <a:pt x="315" y="51"/>
                  </a:cubicBezTo>
                  <a:lnTo>
                    <a:pt x="315" y="51"/>
                  </a:lnTo>
                  <a:cubicBezTo>
                    <a:pt x="350" y="41"/>
                    <a:pt x="361" y="34"/>
                    <a:pt x="365" y="26"/>
                  </a:cubicBezTo>
                  <a:lnTo>
                    <a:pt x="365" y="26"/>
                  </a:lnTo>
                  <a:cubicBezTo>
                    <a:pt x="367" y="21"/>
                    <a:pt x="367" y="16"/>
                    <a:pt x="364" y="11"/>
                  </a:cubicBezTo>
                  <a:lnTo>
                    <a:pt x="364" y="11"/>
                  </a:lnTo>
                  <a:cubicBezTo>
                    <a:pt x="363" y="9"/>
                    <a:pt x="361" y="7"/>
                    <a:pt x="358" y="5"/>
                  </a:cubicBezTo>
                  <a:lnTo>
                    <a:pt x="358" y="5"/>
                  </a:lnTo>
                  <a:cubicBezTo>
                    <a:pt x="335" y="0"/>
                    <a:pt x="257" y="53"/>
                    <a:pt x="249" y="59"/>
                  </a:cubicBezTo>
                  <a:lnTo>
                    <a:pt x="249" y="59"/>
                  </a:lnTo>
                  <a:lnTo>
                    <a:pt x="249" y="59"/>
                  </a:lnTo>
                  <a:lnTo>
                    <a:pt x="249" y="59"/>
                  </a:lnTo>
                  <a:cubicBezTo>
                    <a:pt x="156" y="111"/>
                    <a:pt x="181" y="256"/>
                    <a:pt x="208" y="409"/>
                  </a:cubicBezTo>
                  <a:lnTo>
                    <a:pt x="208" y="409"/>
                  </a:lnTo>
                  <a:cubicBezTo>
                    <a:pt x="233" y="552"/>
                    <a:pt x="258" y="700"/>
                    <a:pt x="191" y="784"/>
                  </a:cubicBezTo>
                  <a:lnTo>
                    <a:pt x="191" y="784"/>
                  </a:lnTo>
                  <a:cubicBezTo>
                    <a:pt x="157" y="825"/>
                    <a:pt x="102" y="848"/>
                    <a:pt x="24" y="851"/>
                  </a:cubicBezTo>
                  <a:lnTo>
                    <a:pt x="24" y="851"/>
                  </a:lnTo>
                  <a:cubicBezTo>
                    <a:pt x="16" y="851"/>
                    <a:pt x="8" y="851"/>
                    <a:pt x="0" y="851"/>
                  </a:cubicBezTo>
                  <a:lnTo>
                    <a:pt x="0" y="859"/>
                  </a:lnTo>
                  <a:lnTo>
                    <a:pt x="0" y="859"/>
                  </a:lnTo>
                  <a:cubicBezTo>
                    <a:pt x="3" y="859"/>
                    <a:pt x="7" y="859"/>
                    <a:pt x="10" y="859"/>
                  </a:cubicBezTo>
                  <a:lnTo>
                    <a:pt x="10" y="859"/>
                  </a:lnTo>
                  <a:cubicBezTo>
                    <a:pt x="15" y="859"/>
                    <a:pt x="20" y="859"/>
                    <a:pt x="25" y="859"/>
                  </a:cubicBezTo>
                  <a:lnTo>
                    <a:pt x="25" y="859"/>
                  </a:lnTo>
                  <a:cubicBezTo>
                    <a:pt x="106" y="855"/>
                    <a:pt x="162" y="833"/>
                    <a:pt x="197" y="789"/>
                  </a:cubicBezTo>
                  <a:lnTo>
                    <a:pt x="197" y="789"/>
                  </a:lnTo>
                  <a:cubicBezTo>
                    <a:pt x="267" y="703"/>
                    <a:pt x="241" y="552"/>
                    <a:pt x="216" y="407"/>
                  </a:cubicBezTo>
                  <a:lnTo>
                    <a:pt x="216" y="407"/>
                  </a:lnTo>
                  <a:cubicBezTo>
                    <a:pt x="190" y="258"/>
                    <a:pt x="165" y="117"/>
                    <a:pt x="251" y="67"/>
                  </a:cubicBezTo>
                  <a:lnTo>
                    <a:pt x="251" y="67"/>
                  </a:lnTo>
                  <a:cubicBezTo>
                    <a:pt x="266" y="72"/>
                    <a:pt x="348" y="95"/>
                    <a:pt x="373" y="80"/>
                  </a:cubicBezTo>
                  <a:lnTo>
                    <a:pt x="373" y="80"/>
                  </a:lnTo>
                  <a:cubicBezTo>
                    <a:pt x="378" y="78"/>
                    <a:pt x="380" y="74"/>
                    <a:pt x="381" y="69"/>
                  </a:cubicBezTo>
                  <a:lnTo>
                    <a:pt x="381" y="69"/>
                  </a:lnTo>
                  <a:cubicBezTo>
                    <a:pt x="382" y="65"/>
                    <a:pt x="381" y="62"/>
                    <a:pt x="378" y="5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id="{336180F7-B533-5A93-8479-503ACFE0A2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5539" y="7400419"/>
              <a:ext cx="994440" cy="1185606"/>
            </a:xfrm>
            <a:custGeom>
              <a:avLst/>
              <a:gdLst>
                <a:gd name="connsiteX0" fmla="*/ 464872 w 947050"/>
                <a:gd name="connsiteY0" fmla="*/ 0 h 1129106"/>
                <a:gd name="connsiteX1" fmla="*/ 676682 w 947050"/>
                <a:gd name="connsiteY1" fmla="*/ 0 h 1129106"/>
                <a:gd name="connsiteX2" fmla="*/ 947050 w 947050"/>
                <a:gd name="connsiteY2" fmla="*/ 62380 h 1129106"/>
                <a:gd name="connsiteX3" fmla="*/ 857343 w 947050"/>
                <a:gd name="connsiteY3" fmla="*/ 580132 h 1129106"/>
                <a:gd name="connsiteX4" fmla="*/ 917148 w 947050"/>
                <a:gd name="connsiteY4" fmla="*/ 1006809 h 1129106"/>
                <a:gd name="connsiteX5" fmla="*/ 917148 w 947050"/>
                <a:gd name="connsiteY5" fmla="*/ 1008056 h 1129106"/>
                <a:gd name="connsiteX6" fmla="*/ 868556 w 947050"/>
                <a:gd name="connsiteY6" fmla="*/ 1079169 h 1129106"/>
                <a:gd name="connsiteX7" fmla="*/ 539629 w 947050"/>
                <a:gd name="connsiteY7" fmla="*/ 1129073 h 1129106"/>
                <a:gd name="connsiteX8" fmla="*/ 271752 w 947050"/>
                <a:gd name="connsiteY8" fmla="*/ 1080417 h 1129106"/>
                <a:gd name="connsiteX9" fmla="*/ 225652 w 947050"/>
                <a:gd name="connsiteY9" fmla="*/ 1014294 h 1129106"/>
                <a:gd name="connsiteX10" fmla="*/ 225652 w 947050"/>
                <a:gd name="connsiteY10" fmla="*/ 1006809 h 1129106"/>
                <a:gd name="connsiteX11" fmla="*/ 255555 w 947050"/>
                <a:gd name="connsiteY11" fmla="*/ 668711 h 1129106"/>
                <a:gd name="connsiteX12" fmla="*/ 219209 w 947050"/>
                <a:gd name="connsiteY12" fmla="*/ 300216 h 1129106"/>
                <a:gd name="connsiteX13" fmla="*/ 215456 w 947050"/>
                <a:gd name="connsiteY13" fmla="*/ 304749 h 1129106"/>
                <a:gd name="connsiteX14" fmla="*/ 5999 w 947050"/>
                <a:gd name="connsiteY14" fmla="*/ 630456 h 1129106"/>
                <a:gd name="connsiteX15" fmla="*/ 187939 w 947050"/>
                <a:gd name="connsiteY15" fmla="*/ 73941 h 1129106"/>
                <a:gd name="connsiteX16" fmla="*/ 195852 w 947050"/>
                <a:gd name="connsiteY16" fmla="*/ 63413 h 1129106"/>
                <a:gd name="connsiteX17" fmla="*/ 195750 w 947050"/>
                <a:gd name="connsiteY17" fmla="*/ 62380 h 1129106"/>
                <a:gd name="connsiteX18" fmla="*/ 196814 w 947050"/>
                <a:gd name="connsiteY18" fmla="*/ 62133 h 1129106"/>
                <a:gd name="connsiteX19" fmla="*/ 198099 w 947050"/>
                <a:gd name="connsiteY19" fmla="*/ 60423 h 1129106"/>
                <a:gd name="connsiteX20" fmla="*/ 198238 w 947050"/>
                <a:gd name="connsiteY20" fmla="*/ 61803 h 1129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47050" h="1129106">
                  <a:moveTo>
                    <a:pt x="464872" y="0"/>
                  </a:moveTo>
                  <a:lnTo>
                    <a:pt x="676682" y="0"/>
                  </a:lnTo>
                  <a:lnTo>
                    <a:pt x="947050" y="62380"/>
                  </a:lnTo>
                  <a:lnTo>
                    <a:pt x="857343" y="580132"/>
                  </a:lnTo>
                  <a:lnTo>
                    <a:pt x="917148" y="1006809"/>
                  </a:lnTo>
                  <a:lnTo>
                    <a:pt x="917148" y="1008056"/>
                  </a:lnTo>
                  <a:cubicBezTo>
                    <a:pt x="920885" y="1039246"/>
                    <a:pt x="899704" y="1069188"/>
                    <a:pt x="868556" y="1079169"/>
                  </a:cubicBezTo>
                  <a:cubicBezTo>
                    <a:pt x="821210" y="1096635"/>
                    <a:pt x="701600" y="1130320"/>
                    <a:pt x="539629" y="1129073"/>
                  </a:cubicBezTo>
                  <a:cubicBezTo>
                    <a:pt x="411297" y="1129073"/>
                    <a:pt x="312868" y="1096635"/>
                    <a:pt x="271752" y="1080417"/>
                  </a:cubicBezTo>
                  <a:cubicBezTo>
                    <a:pt x="244342" y="1069188"/>
                    <a:pt x="224407" y="1044236"/>
                    <a:pt x="225652" y="1014294"/>
                  </a:cubicBezTo>
                  <a:cubicBezTo>
                    <a:pt x="225652" y="1011799"/>
                    <a:pt x="225652" y="1009304"/>
                    <a:pt x="225652" y="1006809"/>
                  </a:cubicBezTo>
                  <a:lnTo>
                    <a:pt x="255555" y="668711"/>
                  </a:lnTo>
                  <a:lnTo>
                    <a:pt x="219209" y="300216"/>
                  </a:lnTo>
                  <a:lnTo>
                    <a:pt x="215456" y="304749"/>
                  </a:lnTo>
                  <a:cubicBezTo>
                    <a:pt x="186171" y="340500"/>
                    <a:pt x="65324" y="492148"/>
                    <a:pt x="5999" y="630456"/>
                  </a:cubicBezTo>
                  <a:cubicBezTo>
                    <a:pt x="-34649" y="396313"/>
                    <a:pt x="142914" y="135489"/>
                    <a:pt x="187939" y="73941"/>
                  </a:cubicBezTo>
                  <a:lnTo>
                    <a:pt x="195852" y="63413"/>
                  </a:lnTo>
                  <a:lnTo>
                    <a:pt x="195750" y="62380"/>
                  </a:lnTo>
                  <a:lnTo>
                    <a:pt x="196814" y="62133"/>
                  </a:lnTo>
                  <a:lnTo>
                    <a:pt x="198099" y="60423"/>
                  </a:lnTo>
                  <a:lnTo>
                    <a:pt x="198238" y="61803"/>
                  </a:lnTo>
                  <a:close/>
                </a:path>
              </a:pathLst>
            </a:custGeom>
            <a:solidFill>
              <a:srgbClr val="2121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12D5D0CE-6723-591F-3DB3-E40E2B7981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08083" y="7364039"/>
              <a:ext cx="401122" cy="152906"/>
            </a:xfrm>
            <a:custGeom>
              <a:avLst/>
              <a:gdLst>
                <a:gd name="connsiteX0" fmla="*/ 350013 w 382007"/>
                <a:gd name="connsiteY0" fmla="*/ 759 h 145619"/>
                <a:gd name="connsiteX1" fmla="*/ 371249 w 382007"/>
                <a:gd name="connsiteY1" fmla="*/ 4818 h 145619"/>
                <a:gd name="connsiteX2" fmla="*/ 308126 w 382007"/>
                <a:gd name="connsiteY2" fmla="*/ 113550 h 145619"/>
                <a:gd name="connsiteX3" fmla="*/ 196764 w 382007"/>
                <a:gd name="connsiteY3" fmla="*/ 142934 h 145619"/>
                <a:gd name="connsiteX4" fmla="*/ 199679 w 382007"/>
                <a:gd name="connsiteY4" fmla="*/ 145415 h 145619"/>
                <a:gd name="connsiteX5" fmla="*/ 4494 w 382007"/>
                <a:gd name="connsiteY5" fmla="*/ 55986 h 145619"/>
                <a:gd name="connsiteX6" fmla="*/ 94579 w 382007"/>
                <a:gd name="connsiteY6" fmla="*/ 27017 h 145619"/>
                <a:gd name="connsiteX7" fmla="*/ 94579 w 382007"/>
                <a:gd name="connsiteY7" fmla="*/ 55986 h 145619"/>
                <a:gd name="connsiteX8" fmla="*/ 196327 w 382007"/>
                <a:gd name="connsiteY8" fmla="*/ 142563 h 145619"/>
                <a:gd name="connsiteX9" fmla="*/ 302670 w 382007"/>
                <a:gd name="connsiteY9" fmla="*/ 56283 h 145619"/>
                <a:gd name="connsiteX10" fmla="*/ 302670 w 382007"/>
                <a:gd name="connsiteY10" fmla="*/ 31776 h 145619"/>
                <a:gd name="connsiteX11" fmla="*/ 350013 w 382007"/>
                <a:gd name="connsiteY11" fmla="*/ 759 h 145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2007" h="145619">
                  <a:moveTo>
                    <a:pt x="350013" y="759"/>
                  </a:moveTo>
                  <a:cubicBezTo>
                    <a:pt x="357611" y="-849"/>
                    <a:pt x="365014" y="-83"/>
                    <a:pt x="371249" y="4818"/>
                  </a:cubicBezTo>
                  <a:cubicBezTo>
                    <a:pt x="390887" y="19522"/>
                    <a:pt x="390887" y="75583"/>
                    <a:pt x="308126" y="113550"/>
                  </a:cubicBezTo>
                  <a:lnTo>
                    <a:pt x="196764" y="142934"/>
                  </a:lnTo>
                  <a:lnTo>
                    <a:pt x="199679" y="145415"/>
                  </a:lnTo>
                  <a:cubicBezTo>
                    <a:pt x="199679" y="145415"/>
                    <a:pt x="33271" y="154232"/>
                    <a:pt x="4494" y="55986"/>
                  </a:cubicBezTo>
                  <a:cubicBezTo>
                    <a:pt x="-24283" y="-42259"/>
                    <a:pt x="94579" y="27017"/>
                    <a:pt x="94579" y="27017"/>
                  </a:cubicBezTo>
                  <a:lnTo>
                    <a:pt x="94579" y="55986"/>
                  </a:lnTo>
                  <a:lnTo>
                    <a:pt x="196327" y="142563"/>
                  </a:lnTo>
                  <a:lnTo>
                    <a:pt x="302670" y="56283"/>
                  </a:lnTo>
                  <a:lnTo>
                    <a:pt x="302670" y="31776"/>
                  </a:lnTo>
                  <a:cubicBezTo>
                    <a:pt x="302670" y="31776"/>
                    <a:pt x="327218" y="5584"/>
                    <a:pt x="350013" y="7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2" name="Freeform 20">
              <a:extLst>
                <a:ext uri="{FF2B5EF4-FFF2-40B4-BE49-F238E27FC236}">
                  <a16:creationId xmlns:a16="http://schemas.microsoft.com/office/drawing/2014/main" id="{93283228-4D3A-5EBD-817E-54AF3ABCB1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24974" y="7463870"/>
              <a:ext cx="1185099" cy="757516"/>
            </a:xfrm>
            <a:custGeom>
              <a:avLst/>
              <a:gdLst>
                <a:gd name="connsiteX0" fmla="*/ 244229 w 1128623"/>
                <a:gd name="connsiteY0" fmla="*/ 186760 h 721417"/>
                <a:gd name="connsiteX1" fmla="*/ 355806 w 1128623"/>
                <a:gd name="connsiteY1" fmla="*/ 251544 h 721417"/>
                <a:gd name="connsiteX2" fmla="*/ 22315 w 1128623"/>
                <a:gd name="connsiteY2" fmla="*/ 646477 h 721417"/>
                <a:gd name="connsiteX3" fmla="*/ 0 w 1128623"/>
                <a:gd name="connsiteY3" fmla="*/ 569235 h 721417"/>
                <a:gd name="connsiteX4" fmla="*/ 213236 w 1128623"/>
                <a:gd name="connsiteY4" fmla="*/ 235348 h 721417"/>
                <a:gd name="connsiteX5" fmla="*/ 939216 w 1128623"/>
                <a:gd name="connsiteY5" fmla="*/ 0 h 721417"/>
                <a:gd name="connsiteX6" fmla="*/ 1110996 w 1128623"/>
                <a:gd name="connsiteY6" fmla="*/ 372772 h 721417"/>
                <a:gd name="connsiteX7" fmla="*/ 565779 w 1128623"/>
                <a:gd name="connsiteY7" fmla="*/ 482119 h 721417"/>
                <a:gd name="connsiteX8" fmla="*/ 585696 w 1128623"/>
                <a:gd name="connsiteY8" fmla="*/ 355376 h 721417"/>
                <a:gd name="connsiteX9" fmla="*/ 893159 w 1128623"/>
                <a:gd name="connsiteY9" fmla="*/ 400109 h 721417"/>
                <a:gd name="connsiteX10" fmla="*/ 879466 w 1128623"/>
                <a:gd name="connsiteY10" fmla="*/ 341708 h 721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28623" h="721417">
                  <a:moveTo>
                    <a:pt x="244229" y="186760"/>
                  </a:moveTo>
                  <a:lnTo>
                    <a:pt x="355806" y="251544"/>
                  </a:lnTo>
                  <a:cubicBezTo>
                    <a:pt x="355806" y="403537"/>
                    <a:pt x="133892" y="910596"/>
                    <a:pt x="22315" y="646477"/>
                  </a:cubicBezTo>
                  <a:cubicBezTo>
                    <a:pt x="12397" y="621560"/>
                    <a:pt x="3719" y="595398"/>
                    <a:pt x="0" y="569235"/>
                  </a:cubicBezTo>
                  <a:cubicBezTo>
                    <a:pt x="66946" y="411012"/>
                    <a:pt x="213236" y="235348"/>
                    <a:pt x="213236" y="235348"/>
                  </a:cubicBezTo>
                  <a:close/>
                  <a:moveTo>
                    <a:pt x="939216" y="0"/>
                  </a:moveTo>
                  <a:cubicBezTo>
                    <a:pt x="939216" y="0"/>
                    <a:pt x="1064940" y="44733"/>
                    <a:pt x="1110996" y="372772"/>
                  </a:cubicBezTo>
                  <a:cubicBezTo>
                    <a:pt x="1163278" y="744302"/>
                    <a:pt x="1130914" y="795248"/>
                    <a:pt x="565779" y="482119"/>
                  </a:cubicBezTo>
                  <a:lnTo>
                    <a:pt x="585696" y="355376"/>
                  </a:lnTo>
                  <a:lnTo>
                    <a:pt x="893159" y="400109"/>
                  </a:lnTo>
                  <a:lnTo>
                    <a:pt x="879466" y="34170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3" name="Freeform 14">
              <a:extLst>
                <a:ext uri="{FF2B5EF4-FFF2-40B4-BE49-F238E27FC236}">
                  <a16:creationId xmlns:a16="http://schemas.microsoft.com/office/drawing/2014/main" id="{9220515B-BFC9-B100-5167-71F729E9A3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03710" y="7210080"/>
              <a:ext cx="224950" cy="311467"/>
            </a:xfrm>
            <a:custGeom>
              <a:avLst/>
              <a:gdLst>
                <a:gd name="T0" fmla="*/ 170 w 171"/>
                <a:gd name="T1" fmla="*/ 166 h 238"/>
                <a:gd name="T2" fmla="*/ 84 w 171"/>
                <a:gd name="T3" fmla="*/ 237 h 238"/>
                <a:gd name="T4" fmla="*/ 0 w 171"/>
                <a:gd name="T5" fmla="*/ 166 h 238"/>
                <a:gd name="T6" fmla="*/ 0 w 171"/>
                <a:gd name="T7" fmla="*/ 0 h 238"/>
                <a:gd name="T8" fmla="*/ 170 w 171"/>
                <a:gd name="T9" fmla="*/ 0 h 238"/>
                <a:gd name="T10" fmla="*/ 170 w 171"/>
                <a:gd name="T11" fmla="*/ 166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" h="238">
                  <a:moveTo>
                    <a:pt x="170" y="166"/>
                  </a:moveTo>
                  <a:lnTo>
                    <a:pt x="84" y="237"/>
                  </a:lnTo>
                  <a:lnTo>
                    <a:pt x="0" y="166"/>
                  </a:lnTo>
                  <a:lnTo>
                    <a:pt x="0" y="0"/>
                  </a:lnTo>
                  <a:lnTo>
                    <a:pt x="170" y="0"/>
                  </a:lnTo>
                  <a:lnTo>
                    <a:pt x="170" y="166"/>
                  </a:lnTo>
                </a:path>
              </a:pathLst>
            </a:custGeom>
            <a:solidFill>
              <a:srgbClr val="FBB9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4" name="Freeform 15">
              <a:extLst>
                <a:ext uri="{FF2B5EF4-FFF2-40B4-BE49-F238E27FC236}">
                  <a16:creationId xmlns:a16="http://schemas.microsoft.com/office/drawing/2014/main" id="{397B3A69-81E3-D261-F0FA-6F93312B29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03710" y="7210080"/>
              <a:ext cx="224950" cy="190340"/>
            </a:xfrm>
            <a:custGeom>
              <a:avLst/>
              <a:gdLst>
                <a:gd name="T0" fmla="*/ 170 w 171"/>
                <a:gd name="T1" fmla="*/ 0 h 147"/>
                <a:gd name="T2" fmla="*/ 0 w 171"/>
                <a:gd name="T3" fmla="*/ 0 h 147"/>
                <a:gd name="T4" fmla="*/ 0 w 171"/>
                <a:gd name="T5" fmla="*/ 124 h 147"/>
                <a:gd name="T6" fmla="*/ 0 w 171"/>
                <a:gd name="T7" fmla="*/ 124 h 147"/>
                <a:gd name="T8" fmla="*/ 170 w 171"/>
                <a:gd name="T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147">
                  <a:moveTo>
                    <a:pt x="170" y="0"/>
                  </a:moveTo>
                  <a:lnTo>
                    <a:pt x="0" y="0"/>
                  </a:lnTo>
                  <a:lnTo>
                    <a:pt x="0" y="124"/>
                  </a:lnTo>
                  <a:lnTo>
                    <a:pt x="0" y="124"/>
                  </a:lnTo>
                  <a:cubicBezTo>
                    <a:pt x="40" y="146"/>
                    <a:pt x="170" y="128"/>
                    <a:pt x="170" y="0"/>
                  </a:cubicBezTo>
                </a:path>
              </a:pathLst>
            </a:custGeom>
            <a:solidFill>
              <a:srgbClr val="E09F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5" name="Freeform 16">
              <a:extLst>
                <a:ext uri="{FF2B5EF4-FFF2-40B4-BE49-F238E27FC236}">
                  <a16:creationId xmlns:a16="http://schemas.microsoft.com/office/drawing/2014/main" id="{87E604BA-31A7-D332-500A-11F096536C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28930" y="4972129"/>
              <a:ext cx="1055526" cy="3120440"/>
            </a:xfrm>
            <a:custGeom>
              <a:avLst/>
              <a:gdLst>
                <a:gd name="T0" fmla="*/ 805 w 806"/>
                <a:gd name="T1" fmla="*/ 2365 h 2385"/>
                <a:gd name="T2" fmla="*/ 751 w 806"/>
                <a:gd name="T3" fmla="*/ 2384 h 2385"/>
                <a:gd name="T4" fmla="*/ 0 w 806"/>
                <a:gd name="T5" fmla="*/ 11 h 2385"/>
                <a:gd name="T6" fmla="*/ 33 w 806"/>
                <a:gd name="T7" fmla="*/ 0 h 2385"/>
                <a:gd name="T8" fmla="*/ 805 w 806"/>
                <a:gd name="T9" fmla="*/ 2365 h 2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6" h="2385">
                  <a:moveTo>
                    <a:pt x="805" y="2365"/>
                  </a:moveTo>
                  <a:lnTo>
                    <a:pt x="751" y="2384"/>
                  </a:lnTo>
                  <a:lnTo>
                    <a:pt x="0" y="11"/>
                  </a:lnTo>
                  <a:lnTo>
                    <a:pt x="33" y="0"/>
                  </a:lnTo>
                  <a:lnTo>
                    <a:pt x="805" y="236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6" name="Freeform 17">
              <a:extLst>
                <a:ext uri="{FF2B5EF4-FFF2-40B4-BE49-F238E27FC236}">
                  <a16:creationId xmlns:a16="http://schemas.microsoft.com/office/drawing/2014/main" id="{2DE2A537-2663-6996-F28E-74EBD3BF4D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78759" y="7406186"/>
              <a:ext cx="207645" cy="323004"/>
            </a:xfrm>
            <a:custGeom>
              <a:avLst/>
              <a:gdLst>
                <a:gd name="T0" fmla="*/ 0 w 159"/>
                <a:gd name="T1" fmla="*/ 196 h 249"/>
                <a:gd name="T2" fmla="*/ 12 w 159"/>
                <a:gd name="T3" fmla="*/ 173 h 249"/>
                <a:gd name="T4" fmla="*/ 5 w 159"/>
                <a:gd name="T5" fmla="*/ 93 h 249"/>
                <a:gd name="T6" fmla="*/ 5 w 159"/>
                <a:gd name="T7" fmla="*/ 93 h 249"/>
                <a:gd name="T8" fmla="*/ 12 w 159"/>
                <a:gd name="T9" fmla="*/ 57 h 249"/>
                <a:gd name="T10" fmla="*/ 39 w 159"/>
                <a:gd name="T11" fmla="*/ 6 h 249"/>
                <a:gd name="T12" fmla="*/ 39 w 159"/>
                <a:gd name="T13" fmla="*/ 6 h 249"/>
                <a:gd name="T14" fmla="*/ 52 w 159"/>
                <a:gd name="T15" fmla="*/ 5 h 249"/>
                <a:gd name="T16" fmla="*/ 52 w 159"/>
                <a:gd name="T17" fmla="*/ 5 h 249"/>
                <a:gd name="T18" fmla="*/ 52 w 159"/>
                <a:gd name="T19" fmla="*/ 71 h 249"/>
                <a:gd name="T20" fmla="*/ 60 w 159"/>
                <a:gd name="T21" fmla="*/ 105 h 249"/>
                <a:gd name="T22" fmla="*/ 86 w 159"/>
                <a:gd name="T23" fmla="*/ 64 h 249"/>
                <a:gd name="T24" fmla="*/ 82 w 159"/>
                <a:gd name="T25" fmla="*/ 45 h 249"/>
                <a:gd name="T26" fmla="*/ 96 w 159"/>
                <a:gd name="T27" fmla="*/ 47 h 249"/>
                <a:gd name="T28" fmla="*/ 96 w 159"/>
                <a:gd name="T29" fmla="*/ 47 h 249"/>
                <a:gd name="T30" fmla="*/ 118 w 159"/>
                <a:gd name="T31" fmla="*/ 64 h 249"/>
                <a:gd name="T32" fmla="*/ 121 w 159"/>
                <a:gd name="T33" fmla="*/ 71 h 249"/>
                <a:gd name="T34" fmla="*/ 126 w 159"/>
                <a:gd name="T35" fmla="*/ 74 h 249"/>
                <a:gd name="T36" fmla="*/ 126 w 159"/>
                <a:gd name="T37" fmla="*/ 74 h 249"/>
                <a:gd name="T38" fmla="*/ 140 w 159"/>
                <a:gd name="T39" fmla="*/ 95 h 249"/>
                <a:gd name="T40" fmla="*/ 142 w 159"/>
                <a:gd name="T41" fmla="*/ 112 h 249"/>
                <a:gd name="T42" fmla="*/ 145 w 159"/>
                <a:gd name="T43" fmla="*/ 114 h 249"/>
                <a:gd name="T44" fmla="*/ 145 w 159"/>
                <a:gd name="T45" fmla="*/ 114 h 249"/>
                <a:gd name="T46" fmla="*/ 157 w 159"/>
                <a:gd name="T47" fmla="*/ 135 h 249"/>
                <a:gd name="T48" fmla="*/ 158 w 159"/>
                <a:gd name="T49" fmla="*/ 145 h 249"/>
                <a:gd name="T50" fmla="*/ 154 w 159"/>
                <a:gd name="T51" fmla="*/ 158 h 249"/>
                <a:gd name="T52" fmla="*/ 154 w 159"/>
                <a:gd name="T53" fmla="*/ 158 h 249"/>
                <a:gd name="T54" fmla="*/ 116 w 159"/>
                <a:gd name="T55" fmla="*/ 222 h 249"/>
                <a:gd name="T56" fmla="*/ 90 w 159"/>
                <a:gd name="T57" fmla="*/ 248 h 249"/>
                <a:gd name="T58" fmla="*/ 0 w 159"/>
                <a:gd name="T59" fmla="*/ 196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9" h="249">
                  <a:moveTo>
                    <a:pt x="0" y="196"/>
                  </a:moveTo>
                  <a:lnTo>
                    <a:pt x="12" y="173"/>
                  </a:lnTo>
                  <a:lnTo>
                    <a:pt x="5" y="93"/>
                  </a:lnTo>
                  <a:lnTo>
                    <a:pt x="5" y="93"/>
                  </a:lnTo>
                  <a:cubicBezTo>
                    <a:pt x="4" y="81"/>
                    <a:pt x="7" y="68"/>
                    <a:pt x="12" y="57"/>
                  </a:cubicBezTo>
                  <a:lnTo>
                    <a:pt x="39" y="6"/>
                  </a:lnTo>
                  <a:lnTo>
                    <a:pt x="39" y="6"/>
                  </a:lnTo>
                  <a:cubicBezTo>
                    <a:pt x="41" y="0"/>
                    <a:pt x="49" y="0"/>
                    <a:pt x="52" y="5"/>
                  </a:cubicBezTo>
                  <a:lnTo>
                    <a:pt x="52" y="5"/>
                  </a:lnTo>
                  <a:cubicBezTo>
                    <a:pt x="60" y="16"/>
                    <a:pt x="69" y="39"/>
                    <a:pt x="52" y="71"/>
                  </a:cubicBezTo>
                  <a:lnTo>
                    <a:pt x="60" y="105"/>
                  </a:lnTo>
                  <a:lnTo>
                    <a:pt x="86" y="64"/>
                  </a:lnTo>
                  <a:lnTo>
                    <a:pt x="82" y="45"/>
                  </a:lnTo>
                  <a:lnTo>
                    <a:pt x="96" y="47"/>
                  </a:lnTo>
                  <a:lnTo>
                    <a:pt x="96" y="47"/>
                  </a:lnTo>
                  <a:cubicBezTo>
                    <a:pt x="105" y="49"/>
                    <a:pt x="114" y="55"/>
                    <a:pt x="118" y="64"/>
                  </a:cubicBezTo>
                  <a:lnTo>
                    <a:pt x="121" y="71"/>
                  </a:lnTo>
                  <a:lnTo>
                    <a:pt x="126" y="74"/>
                  </a:lnTo>
                  <a:lnTo>
                    <a:pt x="126" y="74"/>
                  </a:lnTo>
                  <a:cubicBezTo>
                    <a:pt x="134" y="79"/>
                    <a:pt x="139" y="86"/>
                    <a:pt x="140" y="95"/>
                  </a:cubicBezTo>
                  <a:lnTo>
                    <a:pt x="142" y="112"/>
                  </a:lnTo>
                  <a:lnTo>
                    <a:pt x="145" y="114"/>
                  </a:lnTo>
                  <a:lnTo>
                    <a:pt x="145" y="114"/>
                  </a:lnTo>
                  <a:cubicBezTo>
                    <a:pt x="152" y="118"/>
                    <a:pt x="156" y="126"/>
                    <a:pt x="157" y="135"/>
                  </a:cubicBezTo>
                  <a:lnTo>
                    <a:pt x="158" y="145"/>
                  </a:lnTo>
                  <a:lnTo>
                    <a:pt x="154" y="158"/>
                  </a:lnTo>
                  <a:lnTo>
                    <a:pt x="154" y="158"/>
                  </a:lnTo>
                  <a:cubicBezTo>
                    <a:pt x="147" y="183"/>
                    <a:pt x="134" y="204"/>
                    <a:pt x="116" y="222"/>
                  </a:cubicBezTo>
                  <a:lnTo>
                    <a:pt x="90" y="248"/>
                  </a:lnTo>
                  <a:lnTo>
                    <a:pt x="0" y="196"/>
                  </a:lnTo>
                </a:path>
              </a:pathLst>
            </a:custGeom>
            <a:solidFill>
              <a:srgbClr val="FBB9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7" name="Freeform 18">
              <a:extLst>
                <a:ext uri="{FF2B5EF4-FFF2-40B4-BE49-F238E27FC236}">
                  <a16:creationId xmlns:a16="http://schemas.microsoft.com/office/drawing/2014/main" id="{627AD0C0-503B-BB27-D362-A925095BB0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05658" y="7740729"/>
              <a:ext cx="236483" cy="242252"/>
            </a:xfrm>
            <a:custGeom>
              <a:avLst/>
              <a:gdLst>
                <a:gd name="T0" fmla="*/ 181 w 182"/>
                <a:gd name="T1" fmla="*/ 74 h 185"/>
                <a:gd name="T2" fmla="*/ 156 w 182"/>
                <a:gd name="T3" fmla="*/ 70 h 185"/>
                <a:gd name="T4" fmla="*/ 105 w 182"/>
                <a:gd name="T5" fmla="*/ 21 h 185"/>
                <a:gd name="T6" fmla="*/ 105 w 182"/>
                <a:gd name="T7" fmla="*/ 21 h 185"/>
                <a:gd name="T8" fmla="*/ 66 w 182"/>
                <a:gd name="T9" fmla="*/ 3 h 185"/>
                <a:gd name="T10" fmla="*/ 24 w 182"/>
                <a:gd name="T11" fmla="*/ 0 h 185"/>
                <a:gd name="T12" fmla="*/ 24 w 182"/>
                <a:gd name="T13" fmla="*/ 0 h 185"/>
                <a:gd name="T14" fmla="*/ 16 w 182"/>
                <a:gd name="T15" fmla="*/ 8 h 185"/>
                <a:gd name="T16" fmla="*/ 16 w 182"/>
                <a:gd name="T17" fmla="*/ 8 h 185"/>
                <a:gd name="T18" fmla="*/ 64 w 182"/>
                <a:gd name="T19" fmla="*/ 36 h 185"/>
                <a:gd name="T20" fmla="*/ 73 w 182"/>
                <a:gd name="T21" fmla="*/ 64 h 185"/>
                <a:gd name="T22" fmla="*/ 21 w 182"/>
                <a:gd name="T23" fmla="*/ 61 h 185"/>
                <a:gd name="T24" fmla="*/ 12 w 182"/>
                <a:gd name="T25" fmla="*/ 44 h 185"/>
                <a:gd name="T26" fmla="*/ 5 w 182"/>
                <a:gd name="T27" fmla="*/ 56 h 185"/>
                <a:gd name="T28" fmla="*/ 5 w 182"/>
                <a:gd name="T29" fmla="*/ 56 h 185"/>
                <a:gd name="T30" fmla="*/ 4 w 182"/>
                <a:gd name="T31" fmla="*/ 83 h 185"/>
                <a:gd name="T32" fmla="*/ 8 w 182"/>
                <a:gd name="T33" fmla="*/ 90 h 185"/>
                <a:gd name="T34" fmla="*/ 7 w 182"/>
                <a:gd name="T35" fmla="*/ 96 h 185"/>
                <a:gd name="T36" fmla="*/ 7 w 182"/>
                <a:gd name="T37" fmla="*/ 96 h 185"/>
                <a:gd name="T38" fmla="*/ 15 w 182"/>
                <a:gd name="T39" fmla="*/ 119 h 185"/>
                <a:gd name="T40" fmla="*/ 27 w 182"/>
                <a:gd name="T41" fmla="*/ 132 h 185"/>
                <a:gd name="T42" fmla="*/ 26 w 182"/>
                <a:gd name="T43" fmla="*/ 135 h 185"/>
                <a:gd name="T44" fmla="*/ 26 w 182"/>
                <a:gd name="T45" fmla="*/ 135 h 185"/>
                <a:gd name="T46" fmla="*/ 35 w 182"/>
                <a:gd name="T47" fmla="*/ 158 h 185"/>
                <a:gd name="T48" fmla="*/ 42 w 182"/>
                <a:gd name="T49" fmla="*/ 165 h 185"/>
                <a:gd name="T50" fmla="*/ 56 w 182"/>
                <a:gd name="T51" fmla="*/ 170 h 185"/>
                <a:gd name="T52" fmla="*/ 56 w 182"/>
                <a:gd name="T53" fmla="*/ 170 h 185"/>
                <a:gd name="T54" fmla="*/ 129 w 182"/>
                <a:gd name="T55" fmla="*/ 181 h 185"/>
                <a:gd name="T56" fmla="*/ 165 w 182"/>
                <a:gd name="T57" fmla="*/ 176 h 185"/>
                <a:gd name="T58" fmla="*/ 181 w 182"/>
                <a:gd name="T59" fmla="*/ 7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2" h="185">
                  <a:moveTo>
                    <a:pt x="181" y="74"/>
                  </a:moveTo>
                  <a:lnTo>
                    <a:pt x="156" y="70"/>
                  </a:lnTo>
                  <a:lnTo>
                    <a:pt x="105" y="21"/>
                  </a:lnTo>
                  <a:lnTo>
                    <a:pt x="105" y="21"/>
                  </a:lnTo>
                  <a:cubicBezTo>
                    <a:pt x="94" y="11"/>
                    <a:pt x="81" y="4"/>
                    <a:pt x="66" y="3"/>
                  </a:cubicBezTo>
                  <a:lnTo>
                    <a:pt x="24" y="0"/>
                  </a:lnTo>
                  <a:lnTo>
                    <a:pt x="24" y="0"/>
                  </a:lnTo>
                  <a:cubicBezTo>
                    <a:pt x="20" y="0"/>
                    <a:pt x="16" y="4"/>
                    <a:pt x="16" y="8"/>
                  </a:cubicBezTo>
                  <a:lnTo>
                    <a:pt x="16" y="8"/>
                  </a:lnTo>
                  <a:cubicBezTo>
                    <a:pt x="18" y="19"/>
                    <a:pt x="27" y="34"/>
                    <a:pt x="64" y="36"/>
                  </a:cubicBezTo>
                  <a:lnTo>
                    <a:pt x="73" y="64"/>
                  </a:lnTo>
                  <a:lnTo>
                    <a:pt x="21" y="61"/>
                  </a:lnTo>
                  <a:lnTo>
                    <a:pt x="12" y="44"/>
                  </a:lnTo>
                  <a:lnTo>
                    <a:pt x="5" y="56"/>
                  </a:lnTo>
                  <a:lnTo>
                    <a:pt x="5" y="56"/>
                  </a:lnTo>
                  <a:cubicBezTo>
                    <a:pt x="1" y="65"/>
                    <a:pt x="0" y="74"/>
                    <a:pt x="4" y="83"/>
                  </a:cubicBezTo>
                  <a:lnTo>
                    <a:pt x="8" y="90"/>
                  </a:lnTo>
                  <a:lnTo>
                    <a:pt x="7" y="96"/>
                  </a:lnTo>
                  <a:lnTo>
                    <a:pt x="7" y="96"/>
                  </a:lnTo>
                  <a:cubicBezTo>
                    <a:pt x="5" y="105"/>
                    <a:pt x="9" y="113"/>
                    <a:pt x="15" y="119"/>
                  </a:cubicBezTo>
                  <a:lnTo>
                    <a:pt x="27" y="132"/>
                  </a:lnTo>
                  <a:lnTo>
                    <a:pt x="26" y="135"/>
                  </a:lnTo>
                  <a:lnTo>
                    <a:pt x="26" y="135"/>
                  </a:lnTo>
                  <a:cubicBezTo>
                    <a:pt x="26" y="144"/>
                    <a:pt x="29" y="152"/>
                    <a:pt x="35" y="158"/>
                  </a:cubicBezTo>
                  <a:lnTo>
                    <a:pt x="42" y="165"/>
                  </a:lnTo>
                  <a:lnTo>
                    <a:pt x="56" y="170"/>
                  </a:lnTo>
                  <a:lnTo>
                    <a:pt x="56" y="170"/>
                  </a:lnTo>
                  <a:cubicBezTo>
                    <a:pt x="78" y="180"/>
                    <a:pt x="103" y="184"/>
                    <a:pt x="129" y="181"/>
                  </a:cubicBezTo>
                  <a:lnTo>
                    <a:pt x="165" y="176"/>
                  </a:lnTo>
                  <a:lnTo>
                    <a:pt x="181" y="74"/>
                  </a:lnTo>
                </a:path>
              </a:pathLst>
            </a:custGeom>
            <a:solidFill>
              <a:srgbClr val="E09F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8" name="Freeform 19">
              <a:extLst>
                <a:ext uri="{FF2B5EF4-FFF2-40B4-BE49-F238E27FC236}">
                  <a16:creationId xmlns:a16="http://schemas.microsoft.com/office/drawing/2014/main" id="{DE0A9F25-6B66-4CD7-6209-D9474DA9F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42205" y="6731341"/>
              <a:ext cx="461432" cy="311467"/>
            </a:xfrm>
            <a:custGeom>
              <a:avLst/>
              <a:gdLst>
                <a:gd name="T0" fmla="*/ 347 w 353"/>
                <a:gd name="T1" fmla="*/ 186 h 237"/>
                <a:gd name="T2" fmla="*/ 347 w 353"/>
                <a:gd name="T3" fmla="*/ 186 h 237"/>
                <a:gd name="T4" fmla="*/ 172 w 353"/>
                <a:gd name="T5" fmla="*/ 0 h 237"/>
                <a:gd name="T6" fmla="*/ 172 w 353"/>
                <a:gd name="T7" fmla="*/ 0 h 237"/>
                <a:gd name="T8" fmla="*/ 0 w 353"/>
                <a:gd name="T9" fmla="*/ 171 h 237"/>
                <a:gd name="T10" fmla="*/ 0 w 353"/>
                <a:gd name="T11" fmla="*/ 171 h 237"/>
                <a:gd name="T12" fmla="*/ 347 w 353"/>
                <a:gd name="T13" fmla="*/ 18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3" h="237">
                  <a:moveTo>
                    <a:pt x="347" y="186"/>
                  </a:moveTo>
                  <a:lnTo>
                    <a:pt x="347" y="186"/>
                  </a:lnTo>
                  <a:cubicBezTo>
                    <a:pt x="352" y="76"/>
                    <a:pt x="302" y="0"/>
                    <a:pt x="172" y="0"/>
                  </a:cubicBezTo>
                  <a:lnTo>
                    <a:pt x="172" y="0"/>
                  </a:lnTo>
                  <a:cubicBezTo>
                    <a:pt x="48" y="0"/>
                    <a:pt x="22" y="76"/>
                    <a:pt x="0" y="171"/>
                  </a:cubicBezTo>
                  <a:lnTo>
                    <a:pt x="0" y="171"/>
                  </a:lnTo>
                  <a:cubicBezTo>
                    <a:pt x="72" y="191"/>
                    <a:pt x="217" y="236"/>
                    <a:pt x="347" y="186"/>
                  </a:cubicBezTo>
                </a:path>
              </a:pathLst>
            </a:custGeom>
            <a:solidFill>
              <a:srgbClr val="524E4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8E675A7C-A697-FC6D-9BB7-B00BCBB36E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47975" y="6956292"/>
              <a:ext cx="449238" cy="374637"/>
            </a:xfrm>
            <a:custGeom>
              <a:avLst/>
              <a:gdLst>
                <a:gd name="connsiteX0" fmla="*/ 7522 w 427830"/>
                <a:gd name="connsiteY0" fmla="*/ 0 h 356784"/>
                <a:gd name="connsiteX1" fmla="*/ 411204 w 427830"/>
                <a:gd name="connsiteY1" fmla="*/ 18764 h 356784"/>
                <a:gd name="connsiteX2" fmla="*/ 416218 w 427830"/>
                <a:gd name="connsiteY2" fmla="*/ 76304 h 356784"/>
                <a:gd name="connsiteX3" fmla="*/ 415300 w 427830"/>
                <a:gd name="connsiteY3" fmla="*/ 108117 h 356784"/>
                <a:gd name="connsiteX4" fmla="*/ 427294 w 427830"/>
                <a:gd name="connsiteY4" fmla="*/ 126950 h 356784"/>
                <a:gd name="connsiteX5" fmla="*/ 421273 w 427830"/>
                <a:gd name="connsiteY5" fmla="*/ 157020 h 356784"/>
                <a:gd name="connsiteX6" fmla="*/ 408775 w 427830"/>
                <a:gd name="connsiteY6" fmla="*/ 171140 h 356784"/>
                <a:gd name="connsiteX7" fmla="*/ 404123 w 427830"/>
                <a:gd name="connsiteY7" fmla="*/ 174391 h 356784"/>
                <a:gd name="connsiteX8" fmla="*/ 400391 w 427830"/>
                <a:gd name="connsiteY8" fmla="*/ 188102 h 356784"/>
                <a:gd name="connsiteX9" fmla="*/ 364818 w 427830"/>
                <a:gd name="connsiteY9" fmla="*/ 250178 h 356784"/>
                <a:gd name="connsiteX10" fmla="*/ 141665 w 427830"/>
                <a:gd name="connsiteY10" fmla="*/ 355252 h 356784"/>
                <a:gd name="connsiteX11" fmla="*/ 11283 w 427830"/>
                <a:gd name="connsiteY11" fmla="*/ 175125 h 356784"/>
                <a:gd name="connsiteX12" fmla="*/ 0 w 427830"/>
                <a:gd name="connsiteY12" fmla="*/ 76304 h 356784"/>
                <a:gd name="connsiteX13" fmla="*/ 7522 w 427830"/>
                <a:gd name="connsiteY13" fmla="*/ 0 h 356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7830" h="356784">
                  <a:moveTo>
                    <a:pt x="7522" y="0"/>
                  </a:moveTo>
                  <a:cubicBezTo>
                    <a:pt x="92772" y="25018"/>
                    <a:pt x="273300" y="67548"/>
                    <a:pt x="411204" y="18764"/>
                  </a:cubicBezTo>
                  <a:cubicBezTo>
                    <a:pt x="413711" y="36276"/>
                    <a:pt x="416218" y="55039"/>
                    <a:pt x="416218" y="76304"/>
                  </a:cubicBezTo>
                  <a:lnTo>
                    <a:pt x="415300" y="108117"/>
                  </a:lnTo>
                  <a:lnTo>
                    <a:pt x="427294" y="126950"/>
                  </a:lnTo>
                  <a:cubicBezTo>
                    <a:pt x="428878" y="136655"/>
                    <a:pt x="426977" y="147474"/>
                    <a:pt x="421273" y="157020"/>
                  </a:cubicBezTo>
                  <a:cubicBezTo>
                    <a:pt x="418421" y="161793"/>
                    <a:pt x="413984" y="166645"/>
                    <a:pt x="408775" y="171140"/>
                  </a:cubicBezTo>
                  <a:lnTo>
                    <a:pt x="404123" y="174391"/>
                  </a:lnTo>
                  <a:lnTo>
                    <a:pt x="400391" y="188102"/>
                  </a:lnTo>
                  <a:cubicBezTo>
                    <a:pt x="390831" y="210462"/>
                    <a:pt x="377982" y="224535"/>
                    <a:pt x="364818" y="250178"/>
                  </a:cubicBezTo>
                  <a:cubicBezTo>
                    <a:pt x="300881" y="377768"/>
                    <a:pt x="223153" y="355252"/>
                    <a:pt x="141665" y="355252"/>
                  </a:cubicBezTo>
                  <a:cubicBezTo>
                    <a:pt x="72713" y="355252"/>
                    <a:pt x="43878" y="306468"/>
                    <a:pt x="11283" y="175125"/>
                  </a:cubicBezTo>
                  <a:cubicBezTo>
                    <a:pt x="3761" y="145103"/>
                    <a:pt x="0" y="111329"/>
                    <a:pt x="0" y="76304"/>
                  </a:cubicBezTo>
                  <a:cubicBezTo>
                    <a:pt x="0" y="48785"/>
                    <a:pt x="2507" y="22516"/>
                    <a:pt x="7522" y="0"/>
                  </a:cubicBezTo>
                  <a:close/>
                </a:path>
              </a:pathLst>
            </a:custGeom>
            <a:solidFill>
              <a:srgbClr val="FBB9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80" name="Freeform 21">
              <a:extLst>
                <a:ext uri="{FF2B5EF4-FFF2-40B4-BE49-F238E27FC236}">
                  <a16:creationId xmlns:a16="http://schemas.microsoft.com/office/drawing/2014/main" id="{AFF84F98-6009-71EA-3766-984958561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47975" y="6956292"/>
              <a:ext cx="346074" cy="167268"/>
            </a:xfrm>
            <a:custGeom>
              <a:avLst/>
              <a:gdLst>
                <a:gd name="T0" fmla="*/ 83 w 265"/>
                <a:gd name="T1" fmla="*/ 100 h 129"/>
                <a:gd name="T2" fmla="*/ 83 w 265"/>
                <a:gd name="T3" fmla="*/ 100 h 129"/>
                <a:gd name="T4" fmla="*/ 124 w 265"/>
                <a:gd name="T5" fmla="*/ 104 h 129"/>
                <a:gd name="T6" fmla="*/ 124 w 265"/>
                <a:gd name="T7" fmla="*/ 104 h 129"/>
                <a:gd name="T8" fmla="*/ 198 w 265"/>
                <a:gd name="T9" fmla="*/ 127 h 129"/>
                <a:gd name="T10" fmla="*/ 198 w 265"/>
                <a:gd name="T11" fmla="*/ 127 h 129"/>
                <a:gd name="T12" fmla="*/ 264 w 265"/>
                <a:gd name="T13" fmla="*/ 65 h 129"/>
                <a:gd name="T14" fmla="*/ 264 w 265"/>
                <a:gd name="T15" fmla="*/ 65 h 129"/>
                <a:gd name="T16" fmla="*/ 250 w 265"/>
                <a:gd name="T17" fmla="*/ 31 h 129"/>
                <a:gd name="T18" fmla="*/ 250 w 265"/>
                <a:gd name="T19" fmla="*/ 31 h 129"/>
                <a:gd name="T20" fmla="*/ 150 w 265"/>
                <a:gd name="T21" fmla="*/ 29 h 129"/>
                <a:gd name="T22" fmla="*/ 150 w 265"/>
                <a:gd name="T23" fmla="*/ 29 h 129"/>
                <a:gd name="T24" fmla="*/ 135 w 265"/>
                <a:gd name="T25" fmla="*/ 37 h 129"/>
                <a:gd name="T26" fmla="*/ 135 w 265"/>
                <a:gd name="T27" fmla="*/ 37 h 129"/>
                <a:gd name="T28" fmla="*/ 87 w 265"/>
                <a:gd name="T29" fmla="*/ 32 h 129"/>
                <a:gd name="T30" fmla="*/ 87 w 265"/>
                <a:gd name="T31" fmla="*/ 32 h 129"/>
                <a:gd name="T32" fmla="*/ 63 w 265"/>
                <a:gd name="T33" fmla="*/ 15 h 129"/>
                <a:gd name="T34" fmla="*/ 63 w 265"/>
                <a:gd name="T35" fmla="*/ 15 h 129"/>
                <a:gd name="T36" fmla="*/ 6 w 265"/>
                <a:gd name="T37" fmla="*/ 0 h 129"/>
                <a:gd name="T38" fmla="*/ 6 w 265"/>
                <a:gd name="T39" fmla="*/ 0 h 129"/>
                <a:gd name="T40" fmla="*/ 0 w 265"/>
                <a:gd name="T41" fmla="*/ 61 h 129"/>
                <a:gd name="T42" fmla="*/ 0 w 265"/>
                <a:gd name="T43" fmla="*/ 61 h 129"/>
                <a:gd name="T44" fmla="*/ 3 w 265"/>
                <a:gd name="T45" fmla="*/ 105 h 129"/>
                <a:gd name="T46" fmla="*/ 3 w 265"/>
                <a:gd name="T47" fmla="*/ 105 h 129"/>
                <a:gd name="T48" fmla="*/ 6 w 265"/>
                <a:gd name="T49" fmla="*/ 106 h 129"/>
                <a:gd name="T50" fmla="*/ 6 w 265"/>
                <a:gd name="T51" fmla="*/ 106 h 129"/>
                <a:gd name="T52" fmla="*/ 83 w 265"/>
                <a:gd name="T53" fmla="*/ 10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5" h="129">
                  <a:moveTo>
                    <a:pt x="83" y="100"/>
                  </a:moveTo>
                  <a:lnTo>
                    <a:pt x="83" y="100"/>
                  </a:lnTo>
                  <a:cubicBezTo>
                    <a:pt x="96" y="94"/>
                    <a:pt x="112" y="95"/>
                    <a:pt x="124" y="104"/>
                  </a:cubicBezTo>
                  <a:lnTo>
                    <a:pt x="124" y="104"/>
                  </a:lnTo>
                  <a:cubicBezTo>
                    <a:pt x="144" y="119"/>
                    <a:pt x="174" y="128"/>
                    <a:pt x="198" y="127"/>
                  </a:cubicBezTo>
                  <a:lnTo>
                    <a:pt x="198" y="127"/>
                  </a:lnTo>
                  <a:cubicBezTo>
                    <a:pt x="237" y="125"/>
                    <a:pt x="264" y="114"/>
                    <a:pt x="264" y="65"/>
                  </a:cubicBezTo>
                  <a:lnTo>
                    <a:pt x="264" y="65"/>
                  </a:lnTo>
                  <a:cubicBezTo>
                    <a:pt x="263" y="50"/>
                    <a:pt x="258" y="39"/>
                    <a:pt x="250" y="31"/>
                  </a:cubicBezTo>
                  <a:lnTo>
                    <a:pt x="250" y="31"/>
                  </a:lnTo>
                  <a:cubicBezTo>
                    <a:pt x="217" y="34"/>
                    <a:pt x="183" y="33"/>
                    <a:pt x="150" y="29"/>
                  </a:cubicBezTo>
                  <a:lnTo>
                    <a:pt x="150" y="29"/>
                  </a:lnTo>
                  <a:cubicBezTo>
                    <a:pt x="144" y="32"/>
                    <a:pt x="139" y="34"/>
                    <a:pt x="135" y="37"/>
                  </a:cubicBezTo>
                  <a:lnTo>
                    <a:pt x="135" y="37"/>
                  </a:lnTo>
                  <a:cubicBezTo>
                    <a:pt x="119" y="46"/>
                    <a:pt x="100" y="44"/>
                    <a:pt x="87" y="32"/>
                  </a:cubicBezTo>
                  <a:lnTo>
                    <a:pt x="87" y="32"/>
                  </a:lnTo>
                  <a:cubicBezTo>
                    <a:pt x="80" y="26"/>
                    <a:pt x="72" y="20"/>
                    <a:pt x="63" y="15"/>
                  </a:cubicBezTo>
                  <a:lnTo>
                    <a:pt x="63" y="15"/>
                  </a:lnTo>
                  <a:cubicBezTo>
                    <a:pt x="41" y="10"/>
                    <a:pt x="22" y="4"/>
                    <a:pt x="6" y="0"/>
                  </a:cubicBezTo>
                  <a:lnTo>
                    <a:pt x="6" y="0"/>
                  </a:lnTo>
                  <a:cubicBezTo>
                    <a:pt x="2" y="18"/>
                    <a:pt x="0" y="39"/>
                    <a:pt x="0" y="61"/>
                  </a:cubicBezTo>
                  <a:lnTo>
                    <a:pt x="0" y="61"/>
                  </a:lnTo>
                  <a:cubicBezTo>
                    <a:pt x="0" y="76"/>
                    <a:pt x="1" y="91"/>
                    <a:pt x="3" y="105"/>
                  </a:cubicBezTo>
                  <a:lnTo>
                    <a:pt x="3" y="105"/>
                  </a:lnTo>
                  <a:cubicBezTo>
                    <a:pt x="4" y="106"/>
                    <a:pt x="5" y="106"/>
                    <a:pt x="6" y="106"/>
                  </a:cubicBezTo>
                  <a:lnTo>
                    <a:pt x="6" y="106"/>
                  </a:lnTo>
                  <a:cubicBezTo>
                    <a:pt x="30" y="113"/>
                    <a:pt x="61" y="110"/>
                    <a:pt x="83" y="10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E339143A-83DF-1643-1799-87ACDDCEFE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91645" y="6962058"/>
              <a:ext cx="120515" cy="222386"/>
            </a:xfrm>
            <a:custGeom>
              <a:avLst/>
              <a:gdLst>
                <a:gd name="connsiteX0" fmla="*/ 86934 w 114772"/>
                <a:gd name="connsiteY0" fmla="*/ 0 h 211788"/>
                <a:gd name="connsiteX1" fmla="*/ 49677 w 114772"/>
                <a:gd name="connsiteY1" fmla="*/ 211768 h 211788"/>
                <a:gd name="connsiteX2" fmla="*/ 49987 w 114772"/>
                <a:gd name="connsiteY2" fmla="*/ 185143 h 211788"/>
                <a:gd name="connsiteX3" fmla="*/ 50302 w 114772"/>
                <a:gd name="connsiteY3" fmla="*/ 183607 h 211788"/>
                <a:gd name="connsiteX4" fmla="*/ 64350 w 114772"/>
                <a:gd name="connsiteY4" fmla="*/ 177621 h 211788"/>
                <a:gd name="connsiteX5" fmla="*/ 93980 w 114772"/>
                <a:gd name="connsiteY5" fmla="*/ 151529 h 211788"/>
                <a:gd name="connsiteX6" fmla="*/ 85107 w 114772"/>
                <a:gd name="connsiteY6" fmla="*/ 98072 h 211788"/>
                <a:gd name="connsiteX7" fmla="*/ 35670 w 114772"/>
                <a:gd name="connsiteY7" fmla="*/ 113345 h 211788"/>
                <a:gd name="connsiteX8" fmla="*/ 27114 w 114772"/>
                <a:gd name="connsiteY8" fmla="*/ 153756 h 211788"/>
                <a:gd name="connsiteX9" fmla="*/ 28071 w 114772"/>
                <a:gd name="connsiteY9" fmla="*/ 157209 h 211788"/>
                <a:gd name="connsiteX10" fmla="*/ 25925 w 114772"/>
                <a:gd name="connsiteY10" fmla="*/ 156979 h 211788"/>
                <a:gd name="connsiteX11" fmla="*/ 9936 w 114772"/>
                <a:gd name="connsiteY11" fmla="*/ 100959 h 211788"/>
                <a:gd name="connsiteX12" fmla="*/ 0 w 114772"/>
                <a:gd name="connsiteY12" fmla="*/ 19700 h 21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4772" h="211788">
                  <a:moveTo>
                    <a:pt x="86934" y="0"/>
                  </a:moveTo>
                  <a:cubicBezTo>
                    <a:pt x="132884" y="118196"/>
                    <a:pt x="122949" y="204381"/>
                    <a:pt x="49677" y="211768"/>
                  </a:cubicBezTo>
                  <a:cubicBezTo>
                    <a:pt x="45951" y="212384"/>
                    <a:pt x="47503" y="198840"/>
                    <a:pt x="49987" y="185143"/>
                  </a:cubicBezTo>
                  <a:lnTo>
                    <a:pt x="50302" y="183607"/>
                  </a:lnTo>
                  <a:lnTo>
                    <a:pt x="64350" y="177621"/>
                  </a:lnTo>
                  <a:cubicBezTo>
                    <a:pt x="76234" y="170939"/>
                    <a:pt x="88276" y="161075"/>
                    <a:pt x="93980" y="151529"/>
                  </a:cubicBezTo>
                  <a:cubicBezTo>
                    <a:pt x="105388" y="132437"/>
                    <a:pt x="101586" y="108254"/>
                    <a:pt x="85107" y="98072"/>
                  </a:cubicBezTo>
                  <a:cubicBezTo>
                    <a:pt x="69896" y="87889"/>
                    <a:pt x="47079" y="94253"/>
                    <a:pt x="35670" y="113345"/>
                  </a:cubicBezTo>
                  <a:cubicBezTo>
                    <a:pt x="29966" y="123527"/>
                    <a:pt x="27114" y="139437"/>
                    <a:pt x="27114" y="153756"/>
                  </a:cubicBezTo>
                  <a:lnTo>
                    <a:pt x="28071" y="157209"/>
                  </a:lnTo>
                  <a:lnTo>
                    <a:pt x="25925" y="156979"/>
                  </a:lnTo>
                  <a:cubicBezTo>
                    <a:pt x="12109" y="152054"/>
                    <a:pt x="622" y="137896"/>
                    <a:pt x="9936" y="100959"/>
                  </a:cubicBezTo>
                  <a:cubicBezTo>
                    <a:pt x="24838" y="46786"/>
                    <a:pt x="0" y="19700"/>
                    <a:pt x="0" y="1970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88" name="Freeform 30">
              <a:extLst>
                <a:ext uri="{FF2B5EF4-FFF2-40B4-BE49-F238E27FC236}">
                  <a16:creationId xmlns:a16="http://schemas.microsoft.com/office/drawing/2014/main" id="{9D2CAEA3-5873-343B-5C77-FACED250CF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52375" y="7094719"/>
              <a:ext cx="72224" cy="90906"/>
            </a:xfrm>
            <a:custGeom>
              <a:avLst/>
              <a:gdLst>
                <a:gd name="connsiteX0" fmla="*/ 55478 w 68782"/>
                <a:gd name="connsiteY0" fmla="*/ 56253 h 86574"/>
                <a:gd name="connsiteX1" fmla="*/ 62069 w 68782"/>
                <a:gd name="connsiteY1" fmla="*/ 56253 h 86574"/>
                <a:gd name="connsiteX2" fmla="*/ 68660 w 68782"/>
                <a:gd name="connsiteY2" fmla="*/ 76027 h 86574"/>
                <a:gd name="connsiteX3" fmla="*/ 63167 w 68782"/>
                <a:gd name="connsiteY3" fmla="*/ 86574 h 86574"/>
                <a:gd name="connsiteX4" fmla="*/ 60970 w 68782"/>
                <a:gd name="connsiteY4" fmla="*/ 86574 h 86574"/>
                <a:gd name="connsiteX5" fmla="*/ 57675 w 68782"/>
                <a:gd name="connsiteY5" fmla="*/ 83937 h 86574"/>
                <a:gd name="connsiteX6" fmla="*/ 58773 w 68782"/>
                <a:gd name="connsiteY6" fmla="*/ 77346 h 86574"/>
                <a:gd name="connsiteX7" fmla="*/ 60970 w 68782"/>
                <a:gd name="connsiteY7" fmla="*/ 74709 h 86574"/>
                <a:gd name="connsiteX8" fmla="*/ 55478 w 68782"/>
                <a:gd name="connsiteY8" fmla="*/ 62844 h 86574"/>
                <a:gd name="connsiteX9" fmla="*/ 55478 w 68782"/>
                <a:gd name="connsiteY9" fmla="*/ 56253 h 86574"/>
                <a:gd name="connsiteX10" fmla="*/ 27449 w 68782"/>
                <a:gd name="connsiteY10" fmla="*/ 0 h 86574"/>
                <a:gd name="connsiteX11" fmla="*/ 31171 w 68782"/>
                <a:gd name="connsiteY11" fmla="*/ 4919 h 86574"/>
                <a:gd name="connsiteX12" fmla="*/ 16286 w 68782"/>
                <a:gd name="connsiteY12" fmla="*/ 47961 h 86574"/>
                <a:gd name="connsiteX13" fmla="*/ 13805 w 68782"/>
                <a:gd name="connsiteY13" fmla="*/ 72556 h 86574"/>
                <a:gd name="connsiteX14" fmla="*/ 13805 w 68782"/>
                <a:gd name="connsiteY14" fmla="*/ 79935 h 86574"/>
                <a:gd name="connsiteX15" fmla="*/ 10083 w 68782"/>
                <a:gd name="connsiteY15" fmla="*/ 81164 h 86574"/>
                <a:gd name="connsiteX16" fmla="*/ 7603 w 68782"/>
                <a:gd name="connsiteY16" fmla="*/ 81164 h 86574"/>
                <a:gd name="connsiteX17" fmla="*/ 8843 w 68782"/>
                <a:gd name="connsiteY17" fmla="*/ 44272 h 86574"/>
                <a:gd name="connsiteX18" fmla="*/ 22488 w 68782"/>
                <a:gd name="connsiteY18" fmla="*/ 4919 h 86574"/>
                <a:gd name="connsiteX19" fmla="*/ 27449 w 68782"/>
                <a:gd name="connsiteY19" fmla="*/ 0 h 86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8782" h="86574">
                  <a:moveTo>
                    <a:pt x="55478" y="56253"/>
                  </a:moveTo>
                  <a:cubicBezTo>
                    <a:pt x="57675" y="54934"/>
                    <a:pt x="59872" y="54934"/>
                    <a:pt x="62069" y="56253"/>
                  </a:cubicBezTo>
                  <a:cubicBezTo>
                    <a:pt x="63167" y="56253"/>
                    <a:pt x="69758" y="66799"/>
                    <a:pt x="68660" y="76027"/>
                  </a:cubicBezTo>
                  <a:cubicBezTo>
                    <a:pt x="68660" y="79982"/>
                    <a:pt x="67561" y="83937"/>
                    <a:pt x="63167" y="86574"/>
                  </a:cubicBezTo>
                  <a:cubicBezTo>
                    <a:pt x="63167" y="86574"/>
                    <a:pt x="62069" y="86574"/>
                    <a:pt x="60970" y="86574"/>
                  </a:cubicBezTo>
                  <a:cubicBezTo>
                    <a:pt x="58773" y="86574"/>
                    <a:pt x="57675" y="86574"/>
                    <a:pt x="57675" y="83937"/>
                  </a:cubicBezTo>
                  <a:cubicBezTo>
                    <a:pt x="56576" y="81301"/>
                    <a:pt x="57675" y="78664"/>
                    <a:pt x="58773" y="77346"/>
                  </a:cubicBezTo>
                  <a:cubicBezTo>
                    <a:pt x="60970" y="76027"/>
                    <a:pt x="60970" y="76027"/>
                    <a:pt x="60970" y="74709"/>
                  </a:cubicBezTo>
                  <a:cubicBezTo>
                    <a:pt x="60970" y="70754"/>
                    <a:pt x="57675" y="65481"/>
                    <a:pt x="55478" y="62844"/>
                  </a:cubicBezTo>
                  <a:cubicBezTo>
                    <a:pt x="54379" y="61526"/>
                    <a:pt x="54379" y="58889"/>
                    <a:pt x="55478" y="56253"/>
                  </a:cubicBezTo>
                  <a:close/>
                  <a:moveTo>
                    <a:pt x="27449" y="0"/>
                  </a:moveTo>
                  <a:cubicBezTo>
                    <a:pt x="29930" y="0"/>
                    <a:pt x="31171" y="2460"/>
                    <a:pt x="31171" y="4919"/>
                  </a:cubicBezTo>
                  <a:cubicBezTo>
                    <a:pt x="29930" y="23366"/>
                    <a:pt x="22488" y="36893"/>
                    <a:pt x="16286" y="47961"/>
                  </a:cubicBezTo>
                  <a:cubicBezTo>
                    <a:pt x="8843" y="62718"/>
                    <a:pt x="7603" y="67637"/>
                    <a:pt x="13805" y="72556"/>
                  </a:cubicBezTo>
                  <a:cubicBezTo>
                    <a:pt x="15045" y="75016"/>
                    <a:pt x="16286" y="77475"/>
                    <a:pt x="13805" y="79935"/>
                  </a:cubicBezTo>
                  <a:cubicBezTo>
                    <a:pt x="12564" y="81164"/>
                    <a:pt x="11324" y="81164"/>
                    <a:pt x="10083" y="81164"/>
                  </a:cubicBezTo>
                  <a:cubicBezTo>
                    <a:pt x="8843" y="81164"/>
                    <a:pt x="8843" y="81164"/>
                    <a:pt x="7603" y="81164"/>
                  </a:cubicBezTo>
                  <a:cubicBezTo>
                    <a:pt x="-6042" y="68867"/>
                    <a:pt x="1401" y="56569"/>
                    <a:pt x="8843" y="44272"/>
                  </a:cubicBezTo>
                  <a:cubicBezTo>
                    <a:pt x="13805" y="33204"/>
                    <a:pt x="20007" y="20906"/>
                    <a:pt x="22488" y="4919"/>
                  </a:cubicBezTo>
                  <a:cubicBezTo>
                    <a:pt x="22488" y="1230"/>
                    <a:pt x="23728" y="0"/>
                    <a:pt x="27449" y="0"/>
                  </a:cubicBezTo>
                  <a:close/>
                </a:path>
              </a:pathLst>
            </a:custGeom>
            <a:solidFill>
              <a:srgbClr val="E09F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89" name="Freeform 31">
              <a:extLst>
                <a:ext uri="{FF2B5EF4-FFF2-40B4-BE49-F238E27FC236}">
                  <a16:creationId xmlns:a16="http://schemas.microsoft.com/office/drawing/2014/main" id="{5A9DE2D5-DC75-FE27-224D-FE221416F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59513" y="6985130"/>
              <a:ext cx="281354" cy="108261"/>
            </a:xfrm>
            <a:custGeom>
              <a:avLst/>
              <a:gdLst>
                <a:gd name="connsiteX0" fmla="*/ 260670 w 267946"/>
                <a:gd name="connsiteY0" fmla="*/ 21971 h 103102"/>
                <a:gd name="connsiteX1" fmla="*/ 267946 w 267946"/>
                <a:gd name="connsiteY1" fmla="*/ 49860 h 103102"/>
                <a:gd name="connsiteX2" fmla="*/ 219437 w 267946"/>
                <a:gd name="connsiteY2" fmla="*/ 103102 h 103102"/>
                <a:gd name="connsiteX3" fmla="*/ 175778 w 267946"/>
                <a:gd name="connsiteY3" fmla="*/ 75213 h 103102"/>
                <a:gd name="connsiteX4" fmla="*/ 224288 w 267946"/>
                <a:gd name="connsiteY4" fmla="*/ 60001 h 103102"/>
                <a:gd name="connsiteX5" fmla="*/ 260670 w 267946"/>
                <a:gd name="connsiteY5" fmla="*/ 21971 h 103102"/>
                <a:gd name="connsiteX6" fmla="*/ 8489 w 267946"/>
                <a:gd name="connsiteY6" fmla="*/ 0 h 103102"/>
                <a:gd name="connsiteX7" fmla="*/ 44871 w 267946"/>
                <a:gd name="connsiteY7" fmla="*/ 36762 h 103102"/>
                <a:gd name="connsiteX8" fmla="*/ 92168 w 267946"/>
                <a:gd name="connsiteY8" fmla="*/ 53242 h 103102"/>
                <a:gd name="connsiteX9" fmla="*/ 49722 w 267946"/>
                <a:gd name="connsiteY9" fmla="*/ 81131 h 103102"/>
                <a:gd name="connsiteX10" fmla="*/ 0 w 267946"/>
                <a:gd name="connsiteY10" fmla="*/ 27889 h 103102"/>
                <a:gd name="connsiteX11" fmla="*/ 8489 w 267946"/>
                <a:gd name="connsiteY11" fmla="*/ 0 h 10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7946" h="103102">
                  <a:moveTo>
                    <a:pt x="260670" y="21971"/>
                  </a:moveTo>
                  <a:cubicBezTo>
                    <a:pt x="265521" y="29577"/>
                    <a:pt x="267946" y="39719"/>
                    <a:pt x="267946" y="49860"/>
                  </a:cubicBezTo>
                  <a:cubicBezTo>
                    <a:pt x="267946" y="80284"/>
                    <a:pt x="246117" y="103102"/>
                    <a:pt x="219437" y="103102"/>
                  </a:cubicBezTo>
                  <a:cubicBezTo>
                    <a:pt x="201246" y="103102"/>
                    <a:pt x="184267" y="92960"/>
                    <a:pt x="175778" y="75213"/>
                  </a:cubicBezTo>
                  <a:cubicBezTo>
                    <a:pt x="189118" y="75213"/>
                    <a:pt x="207309" y="68875"/>
                    <a:pt x="224288" y="60001"/>
                  </a:cubicBezTo>
                  <a:cubicBezTo>
                    <a:pt x="241266" y="48592"/>
                    <a:pt x="253393" y="34648"/>
                    <a:pt x="260670" y="21971"/>
                  </a:cubicBezTo>
                  <a:close/>
                  <a:moveTo>
                    <a:pt x="8489" y="0"/>
                  </a:moveTo>
                  <a:cubicBezTo>
                    <a:pt x="14553" y="12676"/>
                    <a:pt x="27893" y="25353"/>
                    <a:pt x="44871" y="36762"/>
                  </a:cubicBezTo>
                  <a:cubicBezTo>
                    <a:pt x="61850" y="46904"/>
                    <a:pt x="78828" y="53242"/>
                    <a:pt x="92168" y="53242"/>
                  </a:cubicBezTo>
                  <a:cubicBezTo>
                    <a:pt x="83679" y="69722"/>
                    <a:pt x="67913" y="81131"/>
                    <a:pt x="49722" y="81131"/>
                  </a:cubicBezTo>
                  <a:cubicBezTo>
                    <a:pt x="21829" y="81131"/>
                    <a:pt x="0" y="57045"/>
                    <a:pt x="0" y="27889"/>
                  </a:cubicBezTo>
                  <a:cubicBezTo>
                    <a:pt x="0" y="16479"/>
                    <a:pt x="2425" y="7606"/>
                    <a:pt x="848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90" name="Freeform 28">
              <a:extLst>
                <a:ext uri="{FF2B5EF4-FFF2-40B4-BE49-F238E27FC236}">
                  <a16:creationId xmlns:a16="http://schemas.microsoft.com/office/drawing/2014/main" id="{40558689-FCC5-23F3-5D45-852E92D7D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96065" y="6904375"/>
              <a:ext cx="542184" cy="138430"/>
            </a:xfrm>
            <a:custGeom>
              <a:avLst/>
              <a:gdLst>
                <a:gd name="T0" fmla="*/ 251 w 416"/>
                <a:gd name="T1" fmla="*/ 105 h 106"/>
                <a:gd name="T2" fmla="*/ 251 w 416"/>
                <a:gd name="T3" fmla="*/ 105 h 106"/>
                <a:gd name="T4" fmla="*/ 25 w 416"/>
                <a:gd name="T5" fmla="*/ 66 h 106"/>
                <a:gd name="T6" fmla="*/ 25 w 416"/>
                <a:gd name="T7" fmla="*/ 66 h 106"/>
                <a:gd name="T8" fmla="*/ 5 w 416"/>
                <a:gd name="T9" fmla="*/ 27 h 106"/>
                <a:gd name="T10" fmla="*/ 5 w 416"/>
                <a:gd name="T11" fmla="*/ 27 h 106"/>
                <a:gd name="T12" fmla="*/ 43 w 416"/>
                <a:gd name="T13" fmla="*/ 5 h 106"/>
                <a:gd name="T14" fmla="*/ 43 w 416"/>
                <a:gd name="T15" fmla="*/ 5 h 106"/>
                <a:gd name="T16" fmla="*/ 370 w 416"/>
                <a:gd name="T17" fmla="*/ 21 h 106"/>
                <a:gd name="T18" fmla="*/ 370 w 416"/>
                <a:gd name="T19" fmla="*/ 21 h 106"/>
                <a:gd name="T20" fmla="*/ 409 w 416"/>
                <a:gd name="T21" fmla="*/ 38 h 106"/>
                <a:gd name="T22" fmla="*/ 409 w 416"/>
                <a:gd name="T23" fmla="*/ 38 h 106"/>
                <a:gd name="T24" fmla="*/ 392 w 416"/>
                <a:gd name="T25" fmla="*/ 79 h 106"/>
                <a:gd name="T26" fmla="*/ 392 w 416"/>
                <a:gd name="T27" fmla="*/ 79 h 106"/>
                <a:gd name="T28" fmla="*/ 251 w 416"/>
                <a:gd name="T29" fmla="*/ 10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6" h="106">
                  <a:moveTo>
                    <a:pt x="251" y="105"/>
                  </a:moveTo>
                  <a:lnTo>
                    <a:pt x="251" y="105"/>
                  </a:lnTo>
                  <a:cubicBezTo>
                    <a:pt x="158" y="105"/>
                    <a:pt x="70" y="80"/>
                    <a:pt x="25" y="66"/>
                  </a:cubicBezTo>
                  <a:lnTo>
                    <a:pt x="25" y="66"/>
                  </a:lnTo>
                  <a:cubicBezTo>
                    <a:pt x="9" y="61"/>
                    <a:pt x="0" y="43"/>
                    <a:pt x="5" y="27"/>
                  </a:cubicBezTo>
                  <a:lnTo>
                    <a:pt x="5" y="27"/>
                  </a:lnTo>
                  <a:cubicBezTo>
                    <a:pt x="10" y="10"/>
                    <a:pt x="26" y="0"/>
                    <a:pt x="43" y="5"/>
                  </a:cubicBezTo>
                  <a:lnTo>
                    <a:pt x="43" y="5"/>
                  </a:lnTo>
                  <a:cubicBezTo>
                    <a:pt x="104" y="25"/>
                    <a:pt x="260" y="66"/>
                    <a:pt x="370" y="21"/>
                  </a:cubicBezTo>
                  <a:lnTo>
                    <a:pt x="370" y="21"/>
                  </a:lnTo>
                  <a:cubicBezTo>
                    <a:pt x="385" y="14"/>
                    <a:pt x="403" y="22"/>
                    <a:pt x="409" y="38"/>
                  </a:cubicBezTo>
                  <a:lnTo>
                    <a:pt x="409" y="38"/>
                  </a:lnTo>
                  <a:cubicBezTo>
                    <a:pt x="415" y="55"/>
                    <a:pt x="408" y="73"/>
                    <a:pt x="392" y="79"/>
                  </a:cubicBezTo>
                  <a:lnTo>
                    <a:pt x="392" y="79"/>
                  </a:lnTo>
                  <a:cubicBezTo>
                    <a:pt x="349" y="98"/>
                    <a:pt x="299" y="105"/>
                    <a:pt x="251" y="105"/>
                  </a:cubicBezTo>
                </a:path>
              </a:pathLst>
            </a:custGeom>
            <a:solidFill>
              <a:srgbClr val="38363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93" name="Freeform 29">
              <a:extLst>
                <a:ext uri="{FF2B5EF4-FFF2-40B4-BE49-F238E27FC236}">
                  <a16:creationId xmlns:a16="http://schemas.microsoft.com/office/drawing/2014/main" id="{D36D3533-753F-EF1D-CBCB-03DFAEC740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16543" y="5629668"/>
              <a:ext cx="4245184" cy="4239417"/>
            </a:xfrm>
            <a:custGeom>
              <a:avLst/>
              <a:gdLst>
                <a:gd name="T0" fmla="*/ 3244 w 3245"/>
                <a:gd name="T1" fmla="*/ 0 h 3241"/>
                <a:gd name="T2" fmla="*/ 0 w 3245"/>
                <a:gd name="T3" fmla="*/ 470 h 3241"/>
                <a:gd name="T4" fmla="*/ 0 w 3245"/>
                <a:gd name="T5" fmla="*/ 2771 h 3241"/>
                <a:gd name="T6" fmla="*/ 3244 w 3245"/>
                <a:gd name="T7" fmla="*/ 3240 h 3241"/>
                <a:gd name="T8" fmla="*/ 3244 w 3245"/>
                <a:gd name="T9" fmla="*/ 0 h 3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5" h="3241">
                  <a:moveTo>
                    <a:pt x="3244" y="0"/>
                  </a:moveTo>
                  <a:lnTo>
                    <a:pt x="0" y="470"/>
                  </a:lnTo>
                  <a:lnTo>
                    <a:pt x="0" y="2771"/>
                  </a:lnTo>
                  <a:lnTo>
                    <a:pt x="3244" y="3240"/>
                  </a:lnTo>
                  <a:lnTo>
                    <a:pt x="3244" y="0"/>
                  </a:lnTo>
                </a:path>
              </a:pathLst>
            </a:custGeom>
            <a:gradFill>
              <a:gsLst>
                <a:gs pos="34000">
                  <a:srgbClr val="4297FD"/>
                </a:gs>
                <a:gs pos="0">
                  <a:srgbClr val="4274FC"/>
                </a:gs>
                <a:gs pos="100000">
                  <a:srgbClr val="41B9FD"/>
                </a:gs>
              </a:gsLst>
              <a:lin ang="13500000" scaled="0"/>
            </a:gra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94" name="Freeform 30">
              <a:extLst>
                <a:ext uri="{FF2B5EF4-FFF2-40B4-BE49-F238E27FC236}">
                  <a16:creationId xmlns:a16="http://schemas.microsoft.com/office/drawing/2014/main" id="{F7F4ABAF-7315-A341-6C82-D87DCA7E3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13644" y="5571989"/>
              <a:ext cx="103822" cy="4354774"/>
            </a:xfrm>
            <a:custGeom>
              <a:avLst/>
              <a:gdLst>
                <a:gd name="T0" fmla="*/ 0 w 81"/>
                <a:gd name="T1" fmla="*/ 3327 h 3328"/>
                <a:gd name="T2" fmla="*/ 0 w 81"/>
                <a:gd name="T3" fmla="*/ 3327 h 3328"/>
                <a:gd name="T4" fmla="*/ 0 w 81"/>
                <a:gd name="T5" fmla="*/ 3327 h 3328"/>
                <a:gd name="T6" fmla="*/ 80 w 81"/>
                <a:gd name="T7" fmla="*/ 3247 h 3328"/>
                <a:gd name="T8" fmla="*/ 80 w 81"/>
                <a:gd name="T9" fmla="*/ 88 h 3328"/>
                <a:gd name="T10" fmla="*/ 80 w 81"/>
                <a:gd name="T11" fmla="*/ 88 h 3328"/>
                <a:gd name="T12" fmla="*/ 35 w 81"/>
                <a:gd name="T13" fmla="*/ 16 h 3328"/>
                <a:gd name="T14" fmla="*/ 0 w 81"/>
                <a:gd name="T15" fmla="*/ 0 h 3328"/>
                <a:gd name="T16" fmla="*/ 0 w 81"/>
                <a:gd name="T17" fmla="*/ 3327 h 3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3328">
                  <a:moveTo>
                    <a:pt x="0" y="3327"/>
                  </a:moveTo>
                  <a:lnTo>
                    <a:pt x="0" y="3327"/>
                  </a:lnTo>
                  <a:lnTo>
                    <a:pt x="0" y="3327"/>
                  </a:lnTo>
                  <a:cubicBezTo>
                    <a:pt x="44" y="3327"/>
                    <a:pt x="80" y="3292"/>
                    <a:pt x="80" y="3247"/>
                  </a:cubicBezTo>
                  <a:lnTo>
                    <a:pt x="80" y="88"/>
                  </a:lnTo>
                  <a:lnTo>
                    <a:pt x="80" y="88"/>
                  </a:lnTo>
                  <a:cubicBezTo>
                    <a:pt x="80" y="57"/>
                    <a:pt x="62" y="29"/>
                    <a:pt x="35" y="16"/>
                  </a:cubicBezTo>
                  <a:lnTo>
                    <a:pt x="0" y="0"/>
                  </a:lnTo>
                  <a:lnTo>
                    <a:pt x="0" y="3327"/>
                  </a:lnTo>
                </a:path>
              </a:pathLst>
            </a:custGeom>
            <a:solidFill>
              <a:srgbClr val="443F9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95" name="Freeform 31">
              <a:extLst>
                <a:ext uri="{FF2B5EF4-FFF2-40B4-BE49-F238E27FC236}">
                  <a16:creationId xmlns:a16="http://schemas.microsoft.com/office/drawing/2014/main" id="{30066476-D9C0-75DA-2260-1A1A447990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8864" y="5571989"/>
              <a:ext cx="4360543" cy="4354774"/>
            </a:xfrm>
            <a:custGeom>
              <a:avLst/>
              <a:gdLst>
                <a:gd name="T0" fmla="*/ 3331 w 3332"/>
                <a:gd name="T1" fmla="*/ 0 h 3328"/>
                <a:gd name="T2" fmla="*/ 72 w 3332"/>
                <a:gd name="T3" fmla="*/ 472 h 3328"/>
                <a:gd name="T4" fmla="*/ 72 w 3332"/>
                <a:gd name="T5" fmla="*/ 472 h 3328"/>
                <a:gd name="T6" fmla="*/ 0 w 3332"/>
                <a:gd name="T7" fmla="*/ 554 h 3328"/>
                <a:gd name="T8" fmla="*/ 0 w 3332"/>
                <a:gd name="T9" fmla="*/ 2772 h 3328"/>
                <a:gd name="T10" fmla="*/ 0 w 3332"/>
                <a:gd name="T11" fmla="*/ 2772 h 3328"/>
                <a:gd name="T12" fmla="*/ 72 w 3332"/>
                <a:gd name="T13" fmla="*/ 2856 h 3328"/>
                <a:gd name="T14" fmla="*/ 3331 w 3332"/>
                <a:gd name="T15" fmla="*/ 3327 h 3328"/>
                <a:gd name="T16" fmla="*/ 3331 w 3332"/>
                <a:gd name="T17" fmla="*/ 0 h 3328"/>
                <a:gd name="T18" fmla="*/ 3218 w 3332"/>
                <a:gd name="T19" fmla="*/ 131 h 3328"/>
                <a:gd name="T20" fmla="*/ 3218 w 3332"/>
                <a:gd name="T21" fmla="*/ 3196 h 3328"/>
                <a:gd name="T22" fmla="*/ 114 w 3332"/>
                <a:gd name="T23" fmla="*/ 2747 h 3328"/>
                <a:gd name="T24" fmla="*/ 114 w 3332"/>
                <a:gd name="T25" fmla="*/ 580 h 3328"/>
                <a:gd name="T26" fmla="*/ 3218 w 3332"/>
                <a:gd name="T27" fmla="*/ 131 h 3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32" h="3328">
                  <a:moveTo>
                    <a:pt x="3331" y="0"/>
                  </a:moveTo>
                  <a:lnTo>
                    <a:pt x="72" y="472"/>
                  </a:lnTo>
                  <a:lnTo>
                    <a:pt x="72" y="472"/>
                  </a:lnTo>
                  <a:cubicBezTo>
                    <a:pt x="31" y="478"/>
                    <a:pt x="0" y="513"/>
                    <a:pt x="0" y="554"/>
                  </a:cubicBezTo>
                  <a:lnTo>
                    <a:pt x="0" y="2772"/>
                  </a:lnTo>
                  <a:lnTo>
                    <a:pt x="0" y="2772"/>
                  </a:lnTo>
                  <a:cubicBezTo>
                    <a:pt x="0" y="2814"/>
                    <a:pt x="31" y="2849"/>
                    <a:pt x="72" y="2856"/>
                  </a:cubicBezTo>
                  <a:lnTo>
                    <a:pt x="3331" y="3327"/>
                  </a:lnTo>
                  <a:lnTo>
                    <a:pt x="3331" y="0"/>
                  </a:lnTo>
                  <a:close/>
                  <a:moveTo>
                    <a:pt x="3218" y="131"/>
                  </a:moveTo>
                  <a:lnTo>
                    <a:pt x="3218" y="3196"/>
                  </a:lnTo>
                  <a:lnTo>
                    <a:pt x="114" y="2747"/>
                  </a:lnTo>
                  <a:lnTo>
                    <a:pt x="114" y="580"/>
                  </a:lnTo>
                  <a:lnTo>
                    <a:pt x="3218" y="131"/>
                  </a:lnTo>
                  <a:close/>
                </a:path>
              </a:pathLst>
            </a:custGeom>
            <a:solidFill>
              <a:srgbClr val="050E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96" name="Freeform 32">
              <a:extLst>
                <a:ext uri="{FF2B5EF4-FFF2-40B4-BE49-F238E27FC236}">
                  <a16:creationId xmlns:a16="http://schemas.microsoft.com/office/drawing/2014/main" id="{F9B6002C-57E4-67CA-6C04-D75D6DE6F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4534" y="9407653"/>
              <a:ext cx="7636718" cy="1811125"/>
            </a:xfrm>
            <a:custGeom>
              <a:avLst/>
              <a:gdLst>
                <a:gd name="T0" fmla="*/ 3013 w 5837"/>
                <a:gd name="T1" fmla="*/ 1383 h 1384"/>
                <a:gd name="T2" fmla="*/ 0 w 5837"/>
                <a:gd name="T3" fmla="*/ 537 h 1384"/>
                <a:gd name="T4" fmla="*/ 1983 w 5837"/>
                <a:gd name="T5" fmla="*/ 0 h 1384"/>
                <a:gd name="T6" fmla="*/ 5836 w 5837"/>
                <a:gd name="T7" fmla="*/ 556 h 1384"/>
                <a:gd name="T8" fmla="*/ 3013 w 5837"/>
                <a:gd name="T9" fmla="*/ 1383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37" h="1384">
                  <a:moveTo>
                    <a:pt x="3013" y="1383"/>
                  </a:moveTo>
                  <a:lnTo>
                    <a:pt x="0" y="537"/>
                  </a:lnTo>
                  <a:lnTo>
                    <a:pt x="1983" y="0"/>
                  </a:lnTo>
                  <a:lnTo>
                    <a:pt x="5836" y="556"/>
                  </a:lnTo>
                  <a:lnTo>
                    <a:pt x="3013" y="1383"/>
                  </a:lnTo>
                </a:path>
              </a:pathLst>
            </a:custGeom>
            <a:gradFill>
              <a:gsLst>
                <a:gs pos="0">
                  <a:srgbClr val="BCE3F9"/>
                </a:gs>
                <a:gs pos="28000">
                  <a:srgbClr val="DEF1FC"/>
                </a:gs>
                <a:gs pos="100000">
                  <a:srgbClr val="FFFFFF"/>
                </a:gs>
              </a:gsLst>
              <a:lin ang="13500000" scaled="0"/>
            </a:gra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97" name="Freeform 33">
              <a:extLst>
                <a:ext uri="{FF2B5EF4-FFF2-40B4-BE49-F238E27FC236}">
                  <a16:creationId xmlns:a16="http://schemas.microsoft.com/office/drawing/2014/main" id="{79089106-72A0-6BD6-1080-BBEA7677F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4534" y="10111340"/>
              <a:ext cx="7636718" cy="1378534"/>
            </a:xfrm>
            <a:custGeom>
              <a:avLst/>
              <a:gdLst>
                <a:gd name="T0" fmla="*/ 3013 w 5837"/>
                <a:gd name="T1" fmla="*/ 846 h 1053"/>
                <a:gd name="T2" fmla="*/ 0 w 5837"/>
                <a:gd name="T3" fmla="*/ 0 h 1053"/>
                <a:gd name="T4" fmla="*/ 0 w 5837"/>
                <a:gd name="T5" fmla="*/ 33 h 1053"/>
                <a:gd name="T6" fmla="*/ 0 w 5837"/>
                <a:gd name="T7" fmla="*/ 33 h 1053"/>
                <a:gd name="T8" fmla="*/ 114 w 5837"/>
                <a:gd name="T9" fmla="*/ 186 h 1053"/>
                <a:gd name="T10" fmla="*/ 3013 w 5837"/>
                <a:gd name="T11" fmla="*/ 1052 h 1053"/>
                <a:gd name="T12" fmla="*/ 5757 w 5837"/>
                <a:gd name="T13" fmla="*/ 182 h 1053"/>
                <a:gd name="T14" fmla="*/ 5757 w 5837"/>
                <a:gd name="T15" fmla="*/ 182 h 1053"/>
                <a:gd name="T16" fmla="*/ 5836 w 5837"/>
                <a:gd name="T17" fmla="*/ 75 h 1053"/>
                <a:gd name="T18" fmla="*/ 5836 w 5837"/>
                <a:gd name="T19" fmla="*/ 19 h 1053"/>
                <a:gd name="T20" fmla="*/ 3013 w 5837"/>
                <a:gd name="T21" fmla="*/ 846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37" h="1053">
                  <a:moveTo>
                    <a:pt x="3013" y="846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0" y="33"/>
                  </a:lnTo>
                  <a:cubicBezTo>
                    <a:pt x="0" y="104"/>
                    <a:pt x="46" y="166"/>
                    <a:pt x="114" y="186"/>
                  </a:cubicBezTo>
                  <a:lnTo>
                    <a:pt x="3013" y="1052"/>
                  </a:lnTo>
                  <a:lnTo>
                    <a:pt x="5757" y="182"/>
                  </a:lnTo>
                  <a:lnTo>
                    <a:pt x="5757" y="182"/>
                  </a:lnTo>
                  <a:cubicBezTo>
                    <a:pt x="5804" y="167"/>
                    <a:pt x="5836" y="124"/>
                    <a:pt x="5836" y="75"/>
                  </a:cubicBezTo>
                  <a:lnTo>
                    <a:pt x="5836" y="19"/>
                  </a:lnTo>
                  <a:lnTo>
                    <a:pt x="3013" y="846"/>
                  </a:lnTo>
                </a:path>
              </a:pathLst>
            </a:custGeom>
            <a:solidFill>
              <a:srgbClr val="3E64F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98" name="Freeform 34">
              <a:extLst>
                <a:ext uri="{FF2B5EF4-FFF2-40B4-BE49-F238E27FC236}">
                  <a16:creationId xmlns:a16="http://schemas.microsoft.com/office/drawing/2014/main" id="{997A869F-5FD5-C04D-0882-8D84F2FB9A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4294" y="9505707"/>
              <a:ext cx="5929416" cy="1384300"/>
            </a:xfrm>
            <a:custGeom>
              <a:avLst/>
              <a:gdLst>
                <a:gd name="T0" fmla="*/ 2670 w 4532"/>
                <a:gd name="T1" fmla="*/ 1057 h 1058"/>
                <a:gd name="T2" fmla="*/ 0 w 4532"/>
                <a:gd name="T3" fmla="*/ 317 h 1058"/>
                <a:gd name="T4" fmla="*/ 1182 w 4532"/>
                <a:gd name="T5" fmla="*/ 0 h 1058"/>
                <a:gd name="T6" fmla="*/ 4531 w 4532"/>
                <a:gd name="T7" fmla="*/ 506 h 1058"/>
                <a:gd name="T8" fmla="*/ 2670 w 4532"/>
                <a:gd name="T9" fmla="*/ 1057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2" h="1058">
                  <a:moveTo>
                    <a:pt x="2670" y="1057"/>
                  </a:moveTo>
                  <a:lnTo>
                    <a:pt x="0" y="317"/>
                  </a:lnTo>
                  <a:lnTo>
                    <a:pt x="1182" y="0"/>
                  </a:lnTo>
                  <a:lnTo>
                    <a:pt x="4531" y="506"/>
                  </a:lnTo>
                  <a:lnTo>
                    <a:pt x="2670" y="1057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99" name="Freeform 37">
              <a:extLst>
                <a:ext uri="{FF2B5EF4-FFF2-40B4-BE49-F238E27FC236}">
                  <a16:creationId xmlns:a16="http://schemas.microsoft.com/office/drawing/2014/main" id="{8EAF931C-3BC3-3AF1-B87B-8C63DFD871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74017" y="10134412"/>
              <a:ext cx="3691465" cy="1349692"/>
            </a:xfrm>
            <a:custGeom>
              <a:avLst/>
              <a:gdLst>
                <a:gd name="T0" fmla="*/ 0 w 2824"/>
                <a:gd name="T1" fmla="*/ 827 h 1034"/>
                <a:gd name="T2" fmla="*/ 0 w 2824"/>
                <a:gd name="T3" fmla="*/ 1033 h 1034"/>
                <a:gd name="T4" fmla="*/ 2744 w 2824"/>
                <a:gd name="T5" fmla="*/ 163 h 1034"/>
                <a:gd name="T6" fmla="*/ 2744 w 2824"/>
                <a:gd name="T7" fmla="*/ 163 h 1034"/>
                <a:gd name="T8" fmla="*/ 2823 w 2824"/>
                <a:gd name="T9" fmla="*/ 56 h 1034"/>
                <a:gd name="T10" fmla="*/ 2823 w 2824"/>
                <a:gd name="T11" fmla="*/ 0 h 1034"/>
                <a:gd name="T12" fmla="*/ 0 w 2824"/>
                <a:gd name="T13" fmla="*/ 827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4" h="1034">
                  <a:moveTo>
                    <a:pt x="0" y="827"/>
                  </a:moveTo>
                  <a:lnTo>
                    <a:pt x="0" y="1033"/>
                  </a:lnTo>
                  <a:lnTo>
                    <a:pt x="2744" y="163"/>
                  </a:lnTo>
                  <a:lnTo>
                    <a:pt x="2744" y="163"/>
                  </a:lnTo>
                  <a:cubicBezTo>
                    <a:pt x="2791" y="148"/>
                    <a:pt x="2823" y="105"/>
                    <a:pt x="2823" y="56"/>
                  </a:cubicBezTo>
                  <a:lnTo>
                    <a:pt x="2823" y="0"/>
                  </a:lnTo>
                  <a:lnTo>
                    <a:pt x="0" y="827"/>
                  </a:lnTo>
                </a:path>
              </a:pathLst>
            </a:custGeom>
            <a:solidFill>
              <a:srgbClr val="050E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0" name="Freeform 40">
              <a:extLst>
                <a:ext uri="{FF2B5EF4-FFF2-40B4-BE49-F238E27FC236}">
                  <a16:creationId xmlns:a16="http://schemas.microsoft.com/office/drawing/2014/main" id="{ED1C7EBD-A0F6-9A1F-3B49-DC4517E631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4293" y="9505707"/>
              <a:ext cx="5870434" cy="1365687"/>
            </a:xfrm>
            <a:custGeom>
              <a:avLst/>
              <a:gdLst>
                <a:gd name="connsiteX0" fmla="*/ 3289967 w 5590680"/>
                <a:gd name="connsiteY0" fmla="*/ 994239 h 1300605"/>
                <a:gd name="connsiteX1" fmla="*/ 3860365 w 5590680"/>
                <a:gd name="connsiteY1" fmla="*/ 1128741 h 1300605"/>
                <a:gd name="connsiteX2" fmla="*/ 3272531 w 5590680"/>
                <a:gd name="connsiteY2" fmla="*/ 1300605 h 1300605"/>
                <a:gd name="connsiteX3" fmla="*/ 2724551 w 5590680"/>
                <a:gd name="connsiteY3" fmla="*/ 1148667 h 1300605"/>
                <a:gd name="connsiteX4" fmla="*/ 2705659 w 5590680"/>
                <a:gd name="connsiteY4" fmla="*/ 856915 h 1300605"/>
                <a:gd name="connsiteX5" fmla="*/ 3168238 w 5590680"/>
                <a:gd name="connsiteY5" fmla="*/ 966880 h 1300605"/>
                <a:gd name="connsiteX6" fmla="*/ 2610899 w 5590680"/>
                <a:gd name="connsiteY6" fmla="*/ 1119331 h 1300605"/>
                <a:gd name="connsiteX7" fmla="*/ 2180737 w 5590680"/>
                <a:gd name="connsiteY7" fmla="*/ 999370 h 1300605"/>
                <a:gd name="connsiteX8" fmla="*/ 4092833 w 5590680"/>
                <a:gd name="connsiteY8" fmla="*/ 780012 h 1300605"/>
                <a:gd name="connsiteX9" fmla="*/ 4700805 w 5590680"/>
                <a:gd name="connsiteY9" fmla="*/ 886569 h 1300605"/>
                <a:gd name="connsiteX10" fmla="*/ 3940839 w 5590680"/>
                <a:gd name="connsiteY10" fmla="*/ 1108356 h 1300605"/>
                <a:gd name="connsiteX11" fmla="*/ 3372734 w 5590680"/>
                <a:gd name="connsiteY11" fmla="*/ 974540 h 1300605"/>
                <a:gd name="connsiteX12" fmla="*/ 3425026 w 5590680"/>
                <a:gd name="connsiteY12" fmla="*/ 659165 h 1300605"/>
                <a:gd name="connsiteX13" fmla="*/ 3948255 w 5590680"/>
                <a:gd name="connsiteY13" fmla="*/ 751467 h 1300605"/>
                <a:gd name="connsiteX14" fmla="*/ 3247303 w 5590680"/>
                <a:gd name="connsiteY14" fmla="*/ 943556 h 1300605"/>
                <a:gd name="connsiteX15" fmla="*/ 2784972 w 5590680"/>
                <a:gd name="connsiteY15" fmla="*/ 833791 h 1300605"/>
                <a:gd name="connsiteX16" fmla="*/ 4621213 w 5590680"/>
                <a:gd name="connsiteY16" fmla="*/ 631698 h 1300605"/>
                <a:gd name="connsiteX17" fmla="*/ 5239120 w 5590680"/>
                <a:gd name="connsiteY17" fmla="*/ 724000 h 1300605"/>
                <a:gd name="connsiteX18" fmla="*/ 4784410 w 5590680"/>
                <a:gd name="connsiteY18" fmla="*/ 855684 h 1300605"/>
                <a:gd name="connsiteX19" fmla="*/ 4180206 w 5590680"/>
                <a:gd name="connsiteY19" fmla="*/ 749845 h 1300605"/>
                <a:gd name="connsiteX20" fmla="*/ 2775841 w 5590680"/>
                <a:gd name="connsiteY20" fmla="*/ 543809 h 1300605"/>
                <a:gd name="connsiteX21" fmla="*/ 3283595 w 5590680"/>
                <a:gd name="connsiteY21" fmla="*/ 634209 h 1300605"/>
                <a:gd name="connsiteX22" fmla="*/ 2658571 w 5590680"/>
                <a:gd name="connsiteY22" fmla="*/ 806219 h 1300605"/>
                <a:gd name="connsiteX23" fmla="*/ 2208205 w 5590680"/>
                <a:gd name="connsiteY23" fmla="*/ 698242 h 1300605"/>
                <a:gd name="connsiteX24" fmla="*/ 4989754 w 5590680"/>
                <a:gd name="connsiteY24" fmla="*/ 532827 h 1300605"/>
                <a:gd name="connsiteX25" fmla="*/ 5590680 w 5590680"/>
                <a:gd name="connsiteY25" fmla="*/ 624908 h 1300605"/>
                <a:gd name="connsiteX26" fmla="*/ 5331896 w 5590680"/>
                <a:gd name="connsiteY26" fmla="*/ 701852 h 1300605"/>
                <a:gd name="connsiteX27" fmla="*/ 4718528 w 5590680"/>
                <a:gd name="connsiteY27" fmla="*/ 608510 h 1300605"/>
                <a:gd name="connsiteX28" fmla="*/ 3920015 w 5590680"/>
                <a:gd name="connsiteY28" fmla="*/ 527336 h 1300605"/>
                <a:gd name="connsiteX29" fmla="*/ 4475591 w 5590680"/>
                <a:gd name="connsiteY29" fmla="*/ 611392 h 1300605"/>
                <a:gd name="connsiteX30" fmla="*/ 4044305 w 5590680"/>
                <a:gd name="connsiteY30" fmla="*/ 729322 h 1300605"/>
                <a:gd name="connsiteX31" fmla="*/ 3521044 w 5590680"/>
                <a:gd name="connsiteY31" fmla="*/ 636484 h 1300605"/>
                <a:gd name="connsiteX32" fmla="*/ 1081780 w 5590680"/>
                <a:gd name="connsiteY32" fmla="*/ 472401 h 1300605"/>
                <a:gd name="connsiteX33" fmla="*/ 1450539 w 5590680"/>
                <a:gd name="connsiteY33" fmla="*/ 561127 h 1300605"/>
                <a:gd name="connsiteX34" fmla="*/ 1532763 w 5590680"/>
                <a:gd name="connsiteY34" fmla="*/ 579872 h 1300605"/>
                <a:gd name="connsiteX35" fmla="*/ 2048528 w 5590680"/>
                <a:gd name="connsiteY35" fmla="*/ 703589 h 1300605"/>
                <a:gd name="connsiteX36" fmla="*/ 2130751 w 5590680"/>
                <a:gd name="connsiteY36" fmla="*/ 722334 h 1300605"/>
                <a:gd name="connsiteX37" fmla="*/ 2580488 w 5590680"/>
                <a:gd name="connsiteY37" fmla="*/ 828556 h 1300605"/>
                <a:gd name="connsiteX38" fmla="*/ 2065969 w 5590680"/>
                <a:gd name="connsiteY38" fmla="*/ 971017 h 1300605"/>
                <a:gd name="connsiteX39" fmla="*/ 675646 w 5590680"/>
                <a:gd name="connsiteY39" fmla="*/ 583621 h 1300605"/>
                <a:gd name="connsiteX40" fmla="*/ 4285675 w 5590680"/>
                <a:gd name="connsiteY40" fmla="*/ 428461 h 1300605"/>
                <a:gd name="connsiteX41" fmla="*/ 4843625 w 5590680"/>
                <a:gd name="connsiteY41" fmla="*/ 513088 h 1300605"/>
                <a:gd name="connsiteX42" fmla="*/ 4572122 w 5590680"/>
                <a:gd name="connsiteY42" fmla="*/ 586513 h 1300605"/>
                <a:gd name="connsiteX43" fmla="*/ 4015418 w 5590680"/>
                <a:gd name="connsiteY43" fmla="*/ 501887 h 1300605"/>
                <a:gd name="connsiteX44" fmla="*/ 2094806 w 5590680"/>
                <a:gd name="connsiteY44" fmla="*/ 428458 h 1300605"/>
                <a:gd name="connsiteX45" fmla="*/ 2629927 w 5590680"/>
                <a:gd name="connsiteY45" fmla="*/ 520943 h 1300605"/>
                <a:gd name="connsiteX46" fmla="*/ 2081117 w 5590680"/>
                <a:gd name="connsiteY46" fmla="*/ 668919 h 1300605"/>
                <a:gd name="connsiteX47" fmla="*/ 1609464 w 5590680"/>
                <a:gd name="connsiteY47" fmla="*/ 557937 h 1300605"/>
                <a:gd name="connsiteX48" fmla="*/ 3225964 w 5590680"/>
                <a:gd name="connsiteY48" fmla="*/ 422966 h 1300605"/>
                <a:gd name="connsiteX49" fmla="*/ 3766980 w 5590680"/>
                <a:gd name="connsiteY49" fmla="*/ 504061 h 1300605"/>
                <a:gd name="connsiteX50" fmla="*/ 3374650 w 5590680"/>
                <a:gd name="connsiteY50" fmla="*/ 608501 h 1300605"/>
                <a:gd name="connsiteX51" fmla="*/ 2867370 w 5590680"/>
                <a:gd name="connsiteY51" fmla="*/ 520034 h 1300605"/>
                <a:gd name="connsiteX52" fmla="*/ 678715 w 5590680"/>
                <a:gd name="connsiteY52" fmla="*/ 379018 h 1300605"/>
                <a:gd name="connsiteX53" fmla="*/ 965529 w 5590680"/>
                <a:gd name="connsiteY53" fmla="*/ 446625 h 1300605"/>
                <a:gd name="connsiteX54" fmla="*/ 567731 w 5590680"/>
                <a:gd name="connsiteY54" fmla="*/ 553566 h 1300605"/>
                <a:gd name="connsiteX55" fmla="*/ 302116 w 5590680"/>
                <a:gd name="connsiteY55" fmla="*/ 479813 h 1300605"/>
                <a:gd name="connsiteX56" fmla="*/ 1584547 w 5590680"/>
                <a:gd name="connsiteY56" fmla="*/ 335074 h 1300605"/>
                <a:gd name="connsiteX57" fmla="*/ 1965270 w 5590680"/>
                <a:gd name="connsiteY57" fmla="*/ 402659 h 1300605"/>
                <a:gd name="connsiteX58" fmla="*/ 1494966 w 5590680"/>
                <a:gd name="connsiteY58" fmla="*/ 531572 h 1300605"/>
                <a:gd name="connsiteX59" fmla="*/ 1159034 w 5590680"/>
                <a:gd name="connsiteY59" fmla="*/ 451471 h 1300605"/>
                <a:gd name="connsiteX60" fmla="*/ 3593865 w 5590680"/>
                <a:gd name="connsiteY60" fmla="*/ 324088 h 1300605"/>
                <a:gd name="connsiteX61" fmla="*/ 4135014 w 5590680"/>
                <a:gd name="connsiteY61" fmla="*/ 407531 h 1300605"/>
                <a:gd name="connsiteX62" fmla="*/ 3861946 w 5590680"/>
                <a:gd name="connsiteY62" fmla="*/ 482124 h 1300605"/>
                <a:gd name="connsiteX63" fmla="*/ 3323291 w 5590680"/>
                <a:gd name="connsiteY63" fmla="*/ 398681 h 1300605"/>
                <a:gd name="connsiteX64" fmla="*/ 2505741 w 5590680"/>
                <a:gd name="connsiteY64" fmla="*/ 313102 h 1300605"/>
                <a:gd name="connsiteX65" fmla="*/ 3074860 w 5590680"/>
                <a:gd name="connsiteY65" fmla="*/ 398772 h 1300605"/>
                <a:gd name="connsiteX66" fmla="*/ 2722905 w 5590680"/>
                <a:gd name="connsiteY66" fmla="*/ 493132 h 1300605"/>
                <a:gd name="connsiteX67" fmla="*/ 2186235 w 5590680"/>
                <a:gd name="connsiteY67" fmla="*/ 398772 h 1300605"/>
                <a:gd name="connsiteX68" fmla="*/ 355489 w 5590680"/>
                <a:gd name="connsiteY68" fmla="*/ 302116 h 1300605"/>
                <a:gd name="connsiteX69" fmla="*/ 570030 w 5590680"/>
                <a:gd name="connsiteY69" fmla="*/ 353805 h 1300605"/>
                <a:gd name="connsiteX70" fmla="*/ 200820 w 5590680"/>
                <a:gd name="connsiteY70" fmla="*/ 454660 h 1300605"/>
                <a:gd name="connsiteX71" fmla="*/ 0 w 5590680"/>
                <a:gd name="connsiteY71" fmla="*/ 397929 h 1300605"/>
                <a:gd name="connsiteX72" fmla="*/ 1137836 w 5590680"/>
                <a:gd name="connsiteY72" fmla="*/ 252680 h 1300605"/>
                <a:gd name="connsiteX73" fmla="*/ 1459909 w 5590680"/>
                <a:gd name="connsiteY73" fmla="*/ 309855 h 1300605"/>
                <a:gd name="connsiteX74" fmla="*/ 1049546 w 5590680"/>
                <a:gd name="connsiteY74" fmla="*/ 421719 h 1300605"/>
                <a:gd name="connsiteX75" fmla="*/ 763535 w 5590680"/>
                <a:gd name="connsiteY75" fmla="*/ 353358 h 1300605"/>
                <a:gd name="connsiteX76" fmla="*/ 1961691 w 5590680"/>
                <a:gd name="connsiteY76" fmla="*/ 230708 h 1300605"/>
                <a:gd name="connsiteX77" fmla="*/ 2366260 w 5590680"/>
                <a:gd name="connsiteY77" fmla="*/ 292294 h 1300605"/>
                <a:gd name="connsiteX78" fmla="*/ 2056298 w 5590680"/>
                <a:gd name="connsiteY78" fmla="*/ 377761 h 1300605"/>
                <a:gd name="connsiteX79" fmla="*/ 1675381 w 5590680"/>
                <a:gd name="connsiteY79" fmla="*/ 309890 h 1300605"/>
                <a:gd name="connsiteX80" fmla="*/ 2875943 w 5590680"/>
                <a:gd name="connsiteY80" fmla="*/ 214227 h 1300605"/>
                <a:gd name="connsiteX81" fmla="*/ 3442893 w 5590680"/>
                <a:gd name="connsiteY81" fmla="*/ 300004 h 1300605"/>
                <a:gd name="connsiteX82" fmla="*/ 3170657 w 5590680"/>
                <a:gd name="connsiteY82" fmla="*/ 372302 h 1300605"/>
                <a:gd name="connsiteX83" fmla="*/ 2603707 w 5590680"/>
                <a:gd name="connsiteY83" fmla="*/ 287750 h 1300605"/>
                <a:gd name="connsiteX84" fmla="*/ 774749 w 5590680"/>
                <a:gd name="connsiteY84" fmla="*/ 192258 h 1300605"/>
                <a:gd name="connsiteX85" fmla="*/ 1014965 w 5590680"/>
                <a:gd name="connsiteY85" fmla="*/ 234853 h 1300605"/>
                <a:gd name="connsiteX86" fmla="*/ 654641 w 5590680"/>
                <a:gd name="connsiteY86" fmla="*/ 333824 h 1300605"/>
                <a:gd name="connsiteX87" fmla="*/ 439448 w 5590680"/>
                <a:gd name="connsiteY87" fmla="*/ 282459 h 1300605"/>
                <a:gd name="connsiteX88" fmla="*/ 1483554 w 5590680"/>
                <a:gd name="connsiteY88" fmla="*/ 159297 h 1300605"/>
                <a:gd name="connsiteX89" fmla="*/ 1827943 w 5590680"/>
                <a:gd name="connsiteY89" fmla="*/ 212537 h 1300605"/>
                <a:gd name="connsiteX90" fmla="*/ 1549448 w 5590680"/>
                <a:gd name="connsiteY90" fmla="*/ 289862 h 1300605"/>
                <a:gd name="connsiteX91" fmla="*/ 1224951 w 5590680"/>
                <a:gd name="connsiteY91" fmla="*/ 231552 h 1300605"/>
                <a:gd name="connsiteX92" fmla="*/ 2331890 w 5590680"/>
                <a:gd name="connsiteY92" fmla="*/ 131836 h 1300605"/>
                <a:gd name="connsiteX93" fmla="*/ 2734297 w 5590680"/>
                <a:gd name="connsiteY93" fmla="*/ 193569 h 1300605"/>
                <a:gd name="connsiteX94" fmla="*/ 2463542 w 5590680"/>
                <a:gd name="connsiteY94" fmla="*/ 267900 h 1300605"/>
                <a:gd name="connsiteX95" fmla="*/ 2059893 w 5590680"/>
                <a:gd name="connsiteY95" fmla="*/ 206167 h 1300605"/>
                <a:gd name="connsiteX96" fmla="*/ 1100643 w 5590680"/>
                <a:gd name="connsiteY96" fmla="*/ 104366 h 1300605"/>
                <a:gd name="connsiteX97" fmla="*/ 1350048 w 5590680"/>
                <a:gd name="connsiteY97" fmla="*/ 142690 h 1300605"/>
                <a:gd name="connsiteX98" fmla="*/ 1100643 w 5590680"/>
                <a:gd name="connsiteY98" fmla="*/ 212950 h 1300605"/>
                <a:gd name="connsiteX99" fmla="*/ 862406 w 5590680"/>
                <a:gd name="connsiteY99" fmla="*/ 169516 h 1300605"/>
                <a:gd name="connsiteX100" fmla="*/ 1854186 w 5590680"/>
                <a:gd name="connsiteY100" fmla="*/ 60425 h 1300605"/>
                <a:gd name="connsiteX101" fmla="*/ 2195975 w 5590680"/>
                <a:gd name="connsiteY101" fmla="*/ 112448 h 1300605"/>
                <a:gd name="connsiteX102" fmla="*/ 1926272 w 5590680"/>
                <a:gd name="connsiteY102" fmla="*/ 185528 h 1300605"/>
                <a:gd name="connsiteX103" fmla="*/ 1581997 w 5590680"/>
                <a:gd name="connsiteY103" fmla="*/ 133505 h 1300605"/>
                <a:gd name="connsiteX104" fmla="*/ 1476976 w 5590680"/>
                <a:gd name="connsiteY104" fmla="*/ 0 h 1300605"/>
                <a:gd name="connsiteX105" fmla="*/ 1723574 w 5590680"/>
                <a:gd name="connsiteY105" fmla="*/ 36620 h 1300605"/>
                <a:gd name="connsiteX106" fmla="*/ 1453312 w 5590680"/>
                <a:gd name="connsiteY106" fmla="*/ 108640 h 1300605"/>
                <a:gd name="connsiteX107" fmla="*/ 1202978 w 5590680"/>
                <a:gd name="connsiteY107" fmla="*/ 72020 h 1300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5590680" h="1300605">
                  <a:moveTo>
                    <a:pt x="3289967" y="994239"/>
                  </a:moveTo>
                  <a:lnTo>
                    <a:pt x="3860365" y="1128741"/>
                  </a:lnTo>
                  <a:lnTo>
                    <a:pt x="3272531" y="1300605"/>
                  </a:lnTo>
                  <a:lnTo>
                    <a:pt x="2724551" y="1148667"/>
                  </a:lnTo>
                  <a:close/>
                  <a:moveTo>
                    <a:pt x="2705659" y="856915"/>
                  </a:moveTo>
                  <a:lnTo>
                    <a:pt x="3168238" y="966880"/>
                  </a:lnTo>
                  <a:lnTo>
                    <a:pt x="2610899" y="1119331"/>
                  </a:lnTo>
                  <a:lnTo>
                    <a:pt x="2180737" y="999370"/>
                  </a:lnTo>
                  <a:close/>
                  <a:moveTo>
                    <a:pt x="4092833" y="780012"/>
                  </a:moveTo>
                  <a:lnTo>
                    <a:pt x="4700805" y="886569"/>
                  </a:lnTo>
                  <a:lnTo>
                    <a:pt x="3940839" y="1108356"/>
                  </a:lnTo>
                  <a:lnTo>
                    <a:pt x="3372734" y="974540"/>
                  </a:lnTo>
                  <a:close/>
                  <a:moveTo>
                    <a:pt x="3425026" y="659165"/>
                  </a:moveTo>
                  <a:lnTo>
                    <a:pt x="3948255" y="751467"/>
                  </a:lnTo>
                  <a:lnTo>
                    <a:pt x="3247303" y="943556"/>
                  </a:lnTo>
                  <a:lnTo>
                    <a:pt x="2784972" y="833791"/>
                  </a:lnTo>
                  <a:close/>
                  <a:moveTo>
                    <a:pt x="4621213" y="631698"/>
                  </a:moveTo>
                  <a:lnTo>
                    <a:pt x="5239120" y="724000"/>
                  </a:lnTo>
                  <a:lnTo>
                    <a:pt x="4784410" y="855684"/>
                  </a:lnTo>
                  <a:lnTo>
                    <a:pt x="4180206" y="749845"/>
                  </a:lnTo>
                  <a:close/>
                  <a:moveTo>
                    <a:pt x="2775841" y="543809"/>
                  </a:moveTo>
                  <a:lnTo>
                    <a:pt x="3283595" y="634209"/>
                  </a:lnTo>
                  <a:lnTo>
                    <a:pt x="2658571" y="806219"/>
                  </a:lnTo>
                  <a:lnTo>
                    <a:pt x="2208205" y="698242"/>
                  </a:lnTo>
                  <a:close/>
                  <a:moveTo>
                    <a:pt x="4989754" y="532827"/>
                  </a:moveTo>
                  <a:lnTo>
                    <a:pt x="5590680" y="624908"/>
                  </a:lnTo>
                  <a:lnTo>
                    <a:pt x="5331896" y="701852"/>
                  </a:lnTo>
                  <a:lnTo>
                    <a:pt x="4718528" y="608510"/>
                  </a:lnTo>
                  <a:close/>
                  <a:moveTo>
                    <a:pt x="3920015" y="527336"/>
                  </a:moveTo>
                  <a:lnTo>
                    <a:pt x="4475591" y="611392"/>
                  </a:lnTo>
                  <a:lnTo>
                    <a:pt x="4044305" y="729322"/>
                  </a:lnTo>
                  <a:lnTo>
                    <a:pt x="3521044" y="636484"/>
                  </a:lnTo>
                  <a:close/>
                  <a:moveTo>
                    <a:pt x="1081780" y="472401"/>
                  </a:moveTo>
                  <a:lnTo>
                    <a:pt x="1450539" y="561127"/>
                  </a:lnTo>
                  <a:lnTo>
                    <a:pt x="1532763" y="579872"/>
                  </a:lnTo>
                  <a:lnTo>
                    <a:pt x="2048528" y="703589"/>
                  </a:lnTo>
                  <a:lnTo>
                    <a:pt x="2130751" y="722334"/>
                  </a:lnTo>
                  <a:lnTo>
                    <a:pt x="2580488" y="828556"/>
                  </a:lnTo>
                  <a:lnTo>
                    <a:pt x="2065969" y="971017"/>
                  </a:lnTo>
                  <a:lnTo>
                    <a:pt x="675646" y="583621"/>
                  </a:lnTo>
                  <a:close/>
                  <a:moveTo>
                    <a:pt x="4285675" y="428461"/>
                  </a:moveTo>
                  <a:lnTo>
                    <a:pt x="4843625" y="513088"/>
                  </a:lnTo>
                  <a:lnTo>
                    <a:pt x="4572122" y="586513"/>
                  </a:lnTo>
                  <a:lnTo>
                    <a:pt x="4015418" y="501887"/>
                  </a:lnTo>
                  <a:close/>
                  <a:moveTo>
                    <a:pt x="2094806" y="428458"/>
                  </a:moveTo>
                  <a:lnTo>
                    <a:pt x="2629927" y="520943"/>
                  </a:lnTo>
                  <a:lnTo>
                    <a:pt x="2081117" y="668919"/>
                  </a:lnTo>
                  <a:lnTo>
                    <a:pt x="1609464" y="557937"/>
                  </a:lnTo>
                  <a:close/>
                  <a:moveTo>
                    <a:pt x="3225964" y="422966"/>
                  </a:moveTo>
                  <a:lnTo>
                    <a:pt x="3766980" y="504061"/>
                  </a:lnTo>
                  <a:lnTo>
                    <a:pt x="3374650" y="608501"/>
                  </a:lnTo>
                  <a:lnTo>
                    <a:pt x="2867370" y="520034"/>
                  </a:lnTo>
                  <a:close/>
                  <a:moveTo>
                    <a:pt x="678715" y="379018"/>
                  </a:moveTo>
                  <a:lnTo>
                    <a:pt x="965529" y="446625"/>
                  </a:lnTo>
                  <a:lnTo>
                    <a:pt x="567731" y="553566"/>
                  </a:lnTo>
                  <a:lnTo>
                    <a:pt x="302116" y="479813"/>
                  </a:lnTo>
                  <a:close/>
                  <a:moveTo>
                    <a:pt x="1584547" y="335074"/>
                  </a:moveTo>
                  <a:lnTo>
                    <a:pt x="1965270" y="402659"/>
                  </a:lnTo>
                  <a:lnTo>
                    <a:pt x="1494966" y="531572"/>
                  </a:lnTo>
                  <a:lnTo>
                    <a:pt x="1159034" y="451471"/>
                  </a:lnTo>
                  <a:close/>
                  <a:moveTo>
                    <a:pt x="3593865" y="324088"/>
                  </a:moveTo>
                  <a:lnTo>
                    <a:pt x="4135014" y="407531"/>
                  </a:lnTo>
                  <a:lnTo>
                    <a:pt x="3861946" y="482124"/>
                  </a:lnTo>
                  <a:lnTo>
                    <a:pt x="3323291" y="398681"/>
                  </a:lnTo>
                  <a:close/>
                  <a:moveTo>
                    <a:pt x="2505741" y="313102"/>
                  </a:moveTo>
                  <a:lnTo>
                    <a:pt x="3074860" y="398772"/>
                  </a:lnTo>
                  <a:lnTo>
                    <a:pt x="2722905" y="493132"/>
                  </a:lnTo>
                  <a:lnTo>
                    <a:pt x="2186235" y="398772"/>
                  </a:lnTo>
                  <a:close/>
                  <a:moveTo>
                    <a:pt x="355489" y="302116"/>
                  </a:moveTo>
                  <a:lnTo>
                    <a:pt x="570030" y="353805"/>
                  </a:lnTo>
                  <a:lnTo>
                    <a:pt x="200820" y="454660"/>
                  </a:lnTo>
                  <a:lnTo>
                    <a:pt x="0" y="397929"/>
                  </a:lnTo>
                  <a:close/>
                  <a:moveTo>
                    <a:pt x="1137836" y="252680"/>
                  </a:moveTo>
                  <a:lnTo>
                    <a:pt x="1459909" y="309855"/>
                  </a:lnTo>
                  <a:lnTo>
                    <a:pt x="1049546" y="421719"/>
                  </a:lnTo>
                  <a:lnTo>
                    <a:pt x="763535" y="353358"/>
                  </a:lnTo>
                  <a:close/>
                  <a:moveTo>
                    <a:pt x="1961691" y="230708"/>
                  </a:moveTo>
                  <a:lnTo>
                    <a:pt x="2366260" y="292294"/>
                  </a:lnTo>
                  <a:lnTo>
                    <a:pt x="2056298" y="377761"/>
                  </a:lnTo>
                  <a:lnTo>
                    <a:pt x="1675381" y="309890"/>
                  </a:lnTo>
                  <a:close/>
                  <a:moveTo>
                    <a:pt x="2875943" y="214227"/>
                  </a:moveTo>
                  <a:lnTo>
                    <a:pt x="3442893" y="300004"/>
                  </a:lnTo>
                  <a:lnTo>
                    <a:pt x="3170657" y="372302"/>
                  </a:lnTo>
                  <a:lnTo>
                    <a:pt x="2603707" y="287750"/>
                  </a:lnTo>
                  <a:close/>
                  <a:moveTo>
                    <a:pt x="774749" y="192258"/>
                  </a:moveTo>
                  <a:lnTo>
                    <a:pt x="1014965" y="234853"/>
                  </a:lnTo>
                  <a:lnTo>
                    <a:pt x="654641" y="333824"/>
                  </a:lnTo>
                  <a:lnTo>
                    <a:pt x="439448" y="282459"/>
                  </a:lnTo>
                  <a:close/>
                  <a:moveTo>
                    <a:pt x="1483554" y="159297"/>
                  </a:moveTo>
                  <a:lnTo>
                    <a:pt x="1827943" y="212537"/>
                  </a:lnTo>
                  <a:lnTo>
                    <a:pt x="1549448" y="289862"/>
                  </a:lnTo>
                  <a:lnTo>
                    <a:pt x="1224951" y="231552"/>
                  </a:lnTo>
                  <a:close/>
                  <a:moveTo>
                    <a:pt x="2331890" y="131836"/>
                  </a:moveTo>
                  <a:lnTo>
                    <a:pt x="2734297" y="193569"/>
                  </a:lnTo>
                  <a:lnTo>
                    <a:pt x="2463542" y="267900"/>
                  </a:lnTo>
                  <a:lnTo>
                    <a:pt x="2059893" y="206167"/>
                  </a:lnTo>
                  <a:close/>
                  <a:moveTo>
                    <a:pt x="1100643" y="104366"/>
                  </a:moveTo>
                  <a:lnTo>
                    <a:pt x="1350048" y="142690"/>
                  </a:lnTo>
                  <a:lnTo>
                    <a:pt x="1100643" y="212950"/>
                  </a:lnTo>
                  <a:lnTo>
                    <a:pt x="862406" y="169516"/>
                  </a:lnTo>
                  <a:close/>
                  <a:moveTo>
                    <a:pt x="1854186" y="60425"/>
                  </a:moveTo>
                  <a:lnTo>
                    <a:pt x="2195975" y="112448"/>
                  </a:lnTo>
                  <a:lnTo>
                    <a:pt x="1926272" y="185528"/>
                  </a:lnTo>
                  <a:lnTo>
                    <a:pt x="1581997" y="133505"/>
                  </a:lnTo>
                  <a:close/>
                  <a:moveTo>
                    <a:pt x="1476976" y="0"/>
                  </a:moveTo>
                  <a:lnTo>
                    <a:pt x="1723574" y="36620"/>
                  </a:lnTo>
                  <a:lnTo>
                    <a:pt x="1453312" y="108640"/>
                  </a:lnTo>
                  <a:lnTo>
                    <a:pt x="1202978" y="72020"/>
                  </a:lnTo>
                  <a:close/>
                </a:path>
              </a:pathLst>
            </a:custGeom>
            <a:solidFill>
              <a:srgbClr val="6CA7E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1" name="Freeform 41">
              <a:extLst>
                <a:ext uri="{FF2B5EF4-FFF2-40B4-BE49-F238E27FC236}">
                  <a16:creationId xmlns:a16="http://schemas.microsoft.com/office/drawing/2014/main" id="{8C2A4C50-6F21-8BDC-F105-4CEEB5AC9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97704" y="9546083"/>
              <a:ext cx="5714705" cy="1342637"/>
            </a:xfrm>
            <a:custGeom>
              <a:avLst/>
              <a:gdLst>
                <a:gd name="connsiteX0" fmla="*/ 3660099 w 5442372"/>
                <a:gd name="connsiteY0" fmla="*/ 1093119 h 1278654"/>
                <a:gd name="connsiteX1" fmla="*/ 3717548 w 5442372"/>
                <a:gd name="connsiteY1" fmla="*/ 1106635 h 1278654"/>
                <a:gd name="connsiteX2" fmla="*/ 3126818 w 5442372"/>
                <a:gd name="connsiteY2" fmla="*/ 1278654 h 1278654"/>
                <a:gd name="connsiteX3" fmla="*/ 3070617 w 5442372"/>
                <a:gd name="connsiteY3" fmla="*/ 1262681 h 1278654"/>
                <a:gd name="connsiteX4" fmla="*/ 2963534 w 5442372"/>
                <a:gd name="connsiteY4" fmla="*/ 928327 h 1278654"/>
                <a:gd name="connsiteX5" fmla="*/ 3003451 w 5442372"/>
                <a:gd name="connsiteY5" fmla="*/ 937133 h 1278654"/>
                <a:gd name="connsiteX6" fmla="*/ 2442128 w 5442372"/>
                <a:gd name="connsiteY6" fmla="*/ 1091861 h 1278654"/>
                <a:gd name="connsiteX7" fmla="*/ 2405954 w 5442372"/>
                <a:gd name="connsiteY7" fmla="*/ 1081797 h 1278654"/>
                <a:gd name="connsiteX8" fmla="*/ 4494029 w 5442372"/>
                <a:gd name="connsiteY8" fmla="*/ 845930 h 1278654"/>
                <a:gd name="connsiteX9" fmla="*/ 4552491 w 5442372"/>
                <a:gd name="connsiteY9" fmla="*/ 857060 h 1278654"/>
                <a:gd name="connsiteX10" fmla="*/ 3791244 w 5442372"/>
                <a:gd name="connsiteY10" fmla="*/ 1080896 h 1278654"/>
                <a:gd name="connsiteX11" fmla="*/ 3735270 w 5442372"/>
                <a:gd name="connsiteY11" fmla="*/ 1067293 h 1278654"/>
                <a:gd name="connsiteX12" fmla="*/ 2376370 w 5442372"/>
                <a:gd name="connsiteY12" fmla="*/ 790995 h 1278654"/>
                <a:gd name="connsiteX13" fmla="*/ 2421193 w 5442372"/>
                <a:gd name="connsiteY13" fmla="*/ 802158 h 1278654"/>
                <a:gd name="connsiteX14" fmla="*/ 1903235 w 5442372"/>
                <a:gd name="connsiteY14" fmla="*/ 943560 h 1278654"/>
                <a:gd name="connsiteX15" fmla="*/ 1862147 w 5442372"/>
                <a:gd name="connsiteY15" fmla="*/ 932396 h 1278654"/>
                <a:gd name="connsiteX16" fmla="*/ 3753689 w 5442372"/>
                <a:gd name="connsiteY16" fmla="*/ 714094 h 1278654"/>
                <a:gd name="connsiteX17" fmla="*/ 3799942 w 5442372"/>
                <a:gd name="connsiteY17" fmla="*/ 722822 h 1278654"/>
                <a:gd name="connsiteX18" fmla="*/ 3088648 w 5442372"/>
                <a:gd name="connsiteY18" fmla="*/ 916092 h 1278654"/>
                <a:gd name="connsiteX19" fmla="*/ 3048646 w 5442372"/>
                <a:gd name="connsiteY19" fmla="*/ 906117 h 1278654"/>
                <a:gd name="connsiteX20" fmla="*/ 5037538 w 5442372"/>
                <a:gd name="connsiteY20" fmla="*/ 686634 h 1278654"/>
                <a:gd name="connsiteX21" fmla="*/ 5096299 w 5442372"/>
                <a:gd name="connsiteY21" fmla="*/ 695252 h 1278654"/>
                <a:gd name="connsiteX22" fmla="*/ 4638714 w 5442372"/>
                <a:gd name="connsiteY22" fmla="*/ 828222 h 1278654"/>
                <a:gd name="connsiteX23" fmla="*/ 4581203 w 5442372"/>
                <a:gd name="connsiteY23" fmla="*/ 818372 h 1278654"/>
                <a:gd name="connsiteX24" fmla="*/ 3078776 w 5442372"/>
                <a:gd name="connsiteY24" fmla="*/ 598744 h 1278654"/>
                <a:gd name="connsiteX25" fmla="*/ 3129792 w 5442372"/>
                <a:gd name="connsiteY25" fmla="*/ 607435 h 1278654"/>
                <a:gd name="connsiteX26" fmla="*/ 2501431 w 5442372"/>
                <a:gd name="connsiteY26" fmla="*/ 778771 h 1278654"/>
                <a:gd name="connsiteX27" fmla="*/ 2455393 w 5442372"/>
                <a:gd name="connsiteY27" fmla="*/ 768839 h 1278654"/>
                <a:gd name="connsiteX28" fmla="*/ 5387919 w 5442372"/>
                <a:gd name="connsiteY28" fmla="*/ 587755 h 1278654"/>
                <a:gd name="connsiteX29" fmla="*/ 5442372 w 5442372"/>
                <a:gd name="connsiteY29" fmla="*/ 596671 h 1278654"/>
                <a:gd name="connsiteX30" fmla="*/ 5187432 w 5442372"/>
                <a:gd name="connsiteY30" fmla="*/ 674370 h 1278654"/>
                <a:gd name="connsiteX31" fmla="*/ 5130504 w 5442372"/>
                <a:gd name="connsiteY31" fmla="*/ 665454 h 1278654"/>
                <a:gd name="connsiteX32" fmla="*/ 4274189 w 5442372"/>
                <a:gd name="connsiteY32" fmla="*/ 571278 h 1278654"/>
                <a:gd name="connsiteX33" fmla="*/ 4321777 w 5442372"/>
                <a:gd name="connsiteY33" fmla="*/ 578710 h 1278654"/>
                <a:gd name="connsiteX34" fmla="*/ 3885976 w 5442372"/>
                <a:gd name="connsiteY34" fmla="*/ 696381 h 1278654"/>
                <a:gd name="connsiteX35" fmla="*/ 3839641 w 5442372"/>
                <a:gd name="connsiteY35" fmla="*/ 687711 h 1278654"/>
                <a:gd name="connsiteX36" fmla="*/ 2426436 w 5442372"/>
                <a:gd name="connsiteY36" fmla="*/ 483384 h 1278654"/>
                <a:gd name="connsiteX37" fmla="*/ 2476124 w 5442372"/>
                <a:gd name="connsiteY37" fmla="*/ 493187 h 1278654"/>
                <a:gd name="connsiteX38" fmla="*/ 1923341 w 5442372"/>
                <a:gd name="connsiteY38" fmla="*/ 641459 h 1278654"/>
                <a:gd name="connsiteX39" fmla="*/ 1878622 w 5442372"/>
                <a:gd name="connsiteY39" fmla="*/ 630430 h 1278654"/>
                <a:gd name="connsiteX40" fmla="*/ 4640815 w 5442372"/>
                <a:gd name="connsiteY40" fmla="*/ 472403 h 1278654"/>
                <a:gd name="connsiteX41" fmla="*/ 4689805 w 5442372"/>
                <a:gd name="connsiteY41" fmla="*/ 478741 h 1278654"/>
                <a:gd name="connsiteX42" fmla="*/ 4415963 w 5442372"/>
                <a:gd name="connsiteY42" fmla="*/ 553533 h 1278654"/>
                <a:gd name="connsiteX43" fmla="*/ 4366973 w 5442372"/>
                <a:gd name="connsiteY43" fmla="*/ 547195 h 1278654"/>
                <a:gd name="connsiteX44" fmla="*/ 3562368 w 5442372"/>
                <a:gd name="connsiteY44" fmla="*/ 466910 h 1278654"/>
                <a:gd name="connsiteX45" fmla="*/ 3618672 w 5442372"/>
                <a:gd name="connsiteY45" fmla="*/ 474273 h 1278654"/>
                <a:gd name="connsiteX46" fmla="*/ 3223294 w 5442372"/>
                <a:gd name="connsiteY46" fmla="*/ 581035 h 1278654"/>
                <a:gd name="connsiteX47" fmla="*/ 3169493 w 5442372"/>
                <a:gd name="connsiteY47" fmla="*/ 571218 h 1278654"/>
                <a:gd name="connsiteX48" fmla="*/ 765359 w 5442372"/>
                <a:gd name="connsiteY48" fmla="*/ 406482 h 1278654"/>
                <a:gd name="connsiteX49" fmla="*/ 795251 w 5442372"/>
                <a:gd name="connsiteY49" fmla="*/ 412618 h 1278654"/>
                <a:gd name="connsiteX50" fmla="*/ 399177 w 5442372"/>
                <a:gd name="connsiteY50" fmla="*/ 519384 h 1278654"/>
                <a:gd name="connsiteX51" fmla="*/ 399177 w 5442372"/>
                <a:gd name="connsiteY51" fmla="*/ 520611 h 1278654"/>
                <a:gd name="connsiteX52" fmla="*/ 368039 w 5442372"/>
                <a:gd name="connsiteY52" fmla="*/ 513248 h 1278654"/>
                <a:gd name="connsiteX53" fmla="*/ 3932811 w 5442372"/>
                <a:gd name="connsiteY53" fmla="*/ 368032 h 1278654"/>
                <a:gd name="connsiteX54" fmla="*/ 3986697 w 5442372"/>
                <a:gd name="connsiteY54" fmla="*/ 375522 h 1278654"/>
                <a:gd name="connsiteX55" fmla="*/ 3714760 w 5442372"/>
                <a:gd name="connsiteY55" fmla="*/ 449178 h 1278654"/>
                <a:gd name="connsiteX56" fmla="*/ 3658368 w 5442372"/>
                <a:gd name="connsiteY56" fmla="*/ 441687 h 1278654"/>
                <a:gd name="connsiteX57" fmla="*/ 2874017 w 5442372"/>
                <a:gd name="connsiteY57" fmla="*/ 362541 h 1278654"/>
                <a:gd name="connsiteX58" fmla="*/ 2926547 w 5442372"/>
                <a:gd name="connsiteY58" fmla="*/ 369908 h 1278654"/>
                <a:gd name="connsiteX59" fmla="*/ 2571342 w 5442372"/>
                <a:gd name="connsiteY59" fmla="*/ 465682 h 1278654"/>
                <a:gd name="connsiteX60" fmla="*/ 2521313 w 5442372"/>
                <a:gd name="connsiteY60" fmla="*/ 455859 h 1278654"/>
                <a:gd name="connsiteX61" fmla="*/ 1763002 w 5442372"/>
                <a:gd name="connsiteY61" fmla="*/ 362537 h 1278654"/>
                <a:gd name="connsiteX62" fmla="*/ 1800473 w 5442372"/>
                <a:gd name="connsiteY62" fmla="*/ 368779 h 1278654"/>
                <a:gd name="connsiteX63" fmla="*/ 1323346 w 5442372"/>
                <a:gd name="connsiteY63" fmla="*/ 498617 h 1278654"/>
                <a:gd name="connsiteX64" fmla="*/ 1290871 w 5442372"/>
                <a:gd name="connsiteY64" fmla="*/ 491126 h 1278654"/>
                <a:gd name="connsiteX65" fmla="*/ 366983 w 5442372"/>
                <a:gd name="connsiteY65" fmla="*/ 313102 h 1278654"/>
                <a:gd name="connsiteX66" fmla="*/ 394259 w 5442372"/>
                <a:gd name="connsiteY66" fmla="*/ 318153 h 1278654"/>
                <a:gd name="connsiteX67" fmla="*/ 26036 w 5442372"/>
                <a:gd name="connsiteY67" fmla="*/ 421700 h 1278654"/>
                <a:gd name="connsiteX68" fmla="*/ 0 w 5442372"/>
                <a:gd name="connsiteY68" fmla="*/ 414124 h 1278654"/>
                <a:gd name="connsiteX69" fmla="*/ 1254925 w 5442372"/>
                <a:gd name="connsiteY69" fmla="*/ 274653 h 1278654"/>
                <a:gd name="connsiteX70" fmla="*/ 1289628 w 5442372"/>
                <a:gd name="connsiteY70" fmla="*/ 279636 h 1278654"/>
                <a:gd name="connsiteX71" fmla="*/ 875674 w 5442372"/>
                <a:gd name="connsiteY71" fmla="*/ 394254 h 1278654"/>
                <a:gd name="connsiteX72" fmla="*/ 845929 w 5442372"/>
                <a:gd name="connsiteY72" fmla="*/ 386779 h 1278654"/>
                <a:gd name="connsiteX73" fmla="*/ 3235912 w 5442372"/>
                <a:gd name="connsiteY73" fmla="*/ 263666 h 1278654"/>
                <a:gd name="connsiteX74" fmla="*/ 3289102 w 5442372"/>
                <a:gd name="connsiteY74" fmla="*/ 271157 h 1278654"/>
                <a:gd name="connsiteX75" fmla="*/ 3019439 w 5442372"/>
                <a:gd name="connsiteY75" fmla="*/ 344816 h 1278654"/>
                <a:gd name="connsiteX76" fmla="*/ 2966248 w 5442372"/>
                <a:gd name="connsiteY76" fmla="*/ 337325 h 1278654"/>
                <a:gd name="connsiteX77" fmla="*/ 2168169 w 5442372"/>
                <a:gd name="connsiteY77" fmla="*/ 252676 h 1278654"/>
                <a:gd name="connsiteX78" fmla="*/ 2206953 w 5442372"/>
                <a:gd name="connsiteY78" fmla="*/ 258902 h 1278654"/>
                <a:gd name="connsiteX79" fmla="*/ 1894182 w 5442372"/>
                <a:gd name="connsiteY79" fmla="*/ 344815 h 1278654"/>
                <a:gd name="connsiteX80" fmla="*/ 1856649 w 5442372"/>
                <a:gd name="connsiteY80" fmla="*/ 337344 h 1278654"/>
                <a:gd name="connsiteX81" fmla="*/ 807012 w 5442372"/>
                <a:gd name="connsiteY81" fmla="*/ 192255 h 1278654"/>
                <a:gd name="connsiteX82" fmla="*/ 839203 w 5442372"/>
                <a:gd name="connsiteY82" fmla="*/ 198394 h 1278654"/>
                <a:gd name="connsiteX83" fmla="*/ 478910 w 5442372"/>
                <a:gd name="connsiteY83" fmla="*/ 295393 h 1278654"/>
                <a:gd name="connsiteX84" fmla="*/ 450433 w 5442372"/>
                <a:gd name="connsiteY84" fmla="*/ 289254 h 1278654"/>
                <a:gd name="connsiteX85" fmla="*/ 1626768 w 5442372"/>
                <a:gd name="connsiteY85" fmla="*/ 175777 h 1278654"/>
                <a:gd name="connsiteX86" fmla="*/ 1663144 w 5442372"/>
                <a:gd name="connsiteY86" fmla="*/ 180696 h 1278654"/>
                <a:gd name="connsiteX87" fmla="*/ 1379668 w 5442372"/>
                <a:gd name="connsiteY87" fmla="*/ 256945 h 1278654"/>
                <a:gd name="connsiteX88" fmla="*/ 1345801 w 5442372"/>
                <a:gd name="connsiteY88" fmla="*/ 250796 h 1278654"/>
                <a:gd name="connsiteX89" fmla="*/ 2535076 w 5442372"/>
                <a:gd name="connsiteY89" fmla="*/ 153805 h 1278654"/>
                <a:gd name="connsiteX90" fmla="*/ 2574994 w 5442372"/>
                <a:gd name="connsiteY90" fmla="*/ 160143 h 1278654"/>
                <a:gd name="connsiteX91" fmla="*/ 2303053 w 5442372"/>
                <a:gd name="connsiteY91" fmla="*/ 234935 h 1278654"/>
                <a:gd name="connsiteX92" fmla="*/ 2263135 w 5442372"/>
                <a:gd name="connsiteY92" fmla="*/ 228597 h 1278654"/>
                <a:gd name="connsiteX93" fmla="*/ 1151573 w 5442372"/>
                <a:gd name="connsiteY93" fmla="*/ 98874 h 1278654"/>
                <a:gd name="connsiteX94" fmla="*/ 1185251 w 5442372"/>
                <a:gd name="connsiteY94" fmla="*/ 105283 h 1278654"/>
                <a:gd name="connsiteX95" fmla="*/ 932043 w 5442372"/>
                <a:gd name="connsiteY95" fmla="*/ 174495 h 1278654"/>
                <a:gd name="connsiteX96" fmla="*/ 900860 w 5442372"/>
                <a:gd name="connsiteY96" fmla="*/ 169368 h 1278654"/>
                <a:gd name="connsiteX97" fmla="*/ 1995065 w 5442372"/>
                <a:gd name="connsiteY97" fmla="*/ 71408 h 1278654"/>
                <a:gd name="connsiteX98" fmla="*/ 2031182 w 5442372"/>
                <a:gd name="connsiteY98" fmla="*/ 76558 h 1278654"/>
                <a:gd name="connsiteX99" fmla="*/ 1759687 w 5442372"/>
                <a:gd name="connsiteY99" fmla="*/ 152515 h 1278654"/>
                <a:gd name="connsiteX100" fmla="*/ 1724816 w 5442372"/>
                <a:gd name="connsiteY100" fmla="*/ 147365 h 1278654"/>
                <a:gd name="connsiteX101" fmla="*/ 1519378 w 5442372"/>
                <a:gd name="connsiteY101" fmla="*/ 0 h 1278654"/>
                <a:gd name="connsiteX102" fmla="*/ 1553278 w 5442372"/>
                <a:gd name="connsiteY102" fmla="*/ 5150 h 1278654"/>
                <a:gd name="connsiteX103" fmla="*/ 1279567 w 5442372"/>
                <a:gd name="connsiteY103" fmla="*/ 81111 h 1278654"/>
                <a:gd name="connsiteX104" fmla="*/ 1246923 w 5442372"/>
                <a:gd name="connsiteY104" fmla="*/ 75961 h 1278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442372" h="1278654">
                  <a:moveTo>
                    <a:pt x="3660099" y="1093119"/>
                  </a:moveTo>
                  <a:lnTo>
                    <a:pt x="3717548" y="1106635"/>
                  </a:lnTo>
                  <a:lnTo>
                    <a:pt x="3126818" y="1278654"/>
                  </a:lnTo>
                  <a:lnTo>
                    <a:pt x="3070617" y="1262681"/>
                  </a:lnTo>
                  <a:close/>
                  <a:moveTo>
                    <a:pt x="2963534" y="928327"/>
                  </a:moveTo>
                  <a:lnTo>
                    <a:pt x="3003451" y="937133"/>
                  </a:lnTo>
                  <a:lnTo>
                    <a:pt x="2442128" y="1091861"/>
                  </a:lnTo>
                  <a:lnTo>
                    <a:pt x="2405954" y="1081797"/>
                  </a:lnTo>
                  <a:close/>
                  <a:moveTo>
                    <a:pt x="4494029" y="845930"/>
                  </a:moveTo>
                  <a:lnTo>
                    <a:pt x="4552491" y="857060"/>
                  </a:lnTo>
                  <a:lnTo>
                    <a:pt x="3791244" y="1080896"/>
                  </a:lnTo>
                  <a:lnTo>
                    <a:pt x="3735270" y="1067293"/>
                  </a:lnTo>
                  <a:close/>
                  <a:moveTo>
                    <a:pt x="2376370" y="790995"/>
                  </a:moveTo>
                  <a:lnTo>
                    <a:pt x="2421193" y="802158"/>
                  </a:lnTo>
                  <a:lnTo>
                    <a:pt x="1903235" y="943560"/>
                  </a:lnTo>
                  <a:lnTo>
                    <a:pt x="1862147" y="932396"/>
                  </a:lnTo>
                  <a:close/>
                  <a:moveTo>
                    <a:pt x="3753689" y="714094"/>
                  </a:moveTo>
                  <a:lnTo>
                    <a:pt x="3799942" y="722822"/>
                  </a:lnTo>
                  <a:lnTo>
                    <a:pt x="3088648" y="916092"/>
                  </a:lnTo>
                  <a:lnTo>
                    <a:pt x="3048646" y="906117"/>
                  </a:lnTo>
                  <a:close/>
                  <a:moveTo>
                    <a:pt x="5037538" y="686634"/>
                  </a:moveTo>
                  <a:lnTo>
                    <a:pt x="5096299" y="695252"/>
                  </a:lnTo>
                  <a:lnTo>
                    <a:pt x="4638714" y="828222"/>
                  </a:lnTo>
                  <a:lnTo>
                    <a:pt x="4581203" y="818372"/>
                  </a:lnTo>
                  <a:close/>
                  <a:moveTo>
                    <a:pt x="3078776" y="598744"/>
                  </a:moveTo>
                  <a:lnTo>
                    <a:pt x="3129792" y="607435"/>
                  </a:lnTo>
                  <a:lnTo>
                    <a:pt x="2501431" y="778771"/>
                  </a:lnTo>
                  <a:lnTo>
                    <a:pt x="2455393" y="768839"/>
                  </a:lnTo>
                  <a:close/>
                  <a:moveTo>
                    <a:pt x="5387919" y="587755"/>
                  </a:moveTo>
                  <a:lnTo>
                    <a:pt x="5442372" y="596671"/>
                  </a:lnTo>
                  <a:lnTo>
                    <a:pt x="5187432" y="674370"/>
                  </a:lnTo>
                  <a:lnTo>
                    <a:pt x="5130504" y="665454"/>
                  </a:lnTo>
                  <a:close/>
                  <a:moveTo>
                    <a:pt x="4274189" y="571278"/>
                  </a:moveTo>
                  <a:lnTo>
                    <a:pt x="4321777" y="578710"/>
                  </a:lnTo>
                  <a:lnTo>
                    <a:pt x="3885976" y="696381"/>
                  </a:lnTo>
                  <a:lnTo>
                    <a:pt x="3839641" y="687711"/>
                  </a:lnTo>
                  <a:close/>
                  <a:moveTo>
                    <a:pt x="2426436" y="483384"/>
                  </a:moveTo>
                  <a:lnTo>
                    <a:pt x="2476124" y="493187"/>
                  </a:lnTo>
                  <a:lnTo>
                    <a:pt x="1923341" y="641459"/>
                  </a:lnTo>
                  <a:lnTo>
                    <a:pt x="1878622" y="630430"/>
                  </a:lnTo>
                  <a:close/>
                  <a:moveTo>
                    <a:pt x="4640815" y="472403"/>
                  </a:moveTo>
                  <a:lnTo>
                    <a:pt x="4689805" y="478741"/>
                  </a:lnTo>
                  <a:lnTo>
                    <a:pt x="4415963" y="553533"/>
                  </a:lnTo>
                  <a:lnTo>
                    <a:pt x="4366973" y="547195"/>
                  </a:lnTo>
                  <a:close/>
                  <a:moveTo>
                    <a:pt x="3562368" y="466910"/>
                  </a:moveTo>
                  <a:lnTo>
                    <a:pt x="3618672" y="474273"/>
                  </a:lnTo>
                  <a:lnTo>
                    <a:pt x="3223294" y="581035"/>
                  </a:lnTo>
                  <a:lnTo>
                    <a:pt x="3169493" y="571218"/>
                  </a:lnTo>
                  <a:close/>
                  <a:moveTo>
                    <a:pt x="765359" y="406482"/>
                  </a:moveTo>
                  <a:lnTo>
                    <a:pt x="795251" y="412618"/>
                  </a:lnTo>
                  <a:lnTo>
                    <a:pt x="399177" y="519384"/>
                  </a:lnTo>
                  <a:lnTo>
                    <a:pt x="399177" y="520611"/>
                  </a:lnTo>
                  <a:lnTo>
                    <a:pt x="368039" y="513248"/>
                  </a:lnTo>
                  <a:close/>
                  <a:moveTo>
                    <a:pt x="3932811" y="368032"/>
                  </a:moveTo>
                  <a:lnTo>
                    <a:pt x="3986697" y="375522"/>
                  </a:lnTo>
                  <a:lnTo>
                    <a:pt x="3714760" y="449178"/>
                  </a:lnTo>
                  <a:lnTo>
                    <a:pt x="3658368" y="441687"/>
                  </a:lnTo>
                  <a:close/>
                  <a:moveTo>
                    <a:pt x="2874017" y="362541"/>
                  </a:moveTo>
                  <a:lnTo>
                    <a:pt x="2926547" y="369908"/>
                  </a:lnTo>
                  <a:lnTo>
                    <a:pt x="2571342" y="465682"/>
                  </a:lnTo>
                  <a:lnTo>
                    <a:pt x="2521313" y="455859"/>
                  </a:lnTo>
                  <a:close/>
                  <a:moveTo>
                    <a:pt x="1763002" y="362537"/>
                  </a:moveTo>
                  <a:lnTo>
                    <a:pt x="1800473" y="368779"/>
                  </a:lnTo>
                  <a:lnTo>
                    <a:pt x="1323346" y="498617"/>
                  </a:lnTo>
                  <a:lnTo>
                    <a:pt x="1290871" y="491126"/>
                  </a:lnTo>
                  <a:close/>
                  <a:moveTo>
                    <a:pt x="366983" y="313102"/>
                  </a:moveTo>
                  <a:lnTo>
                    <a:pt x="394259" y="318153"/>
                  </a:lnTo>
                  <a:lnTo>
                    <a:pt x="26036" y="421700"/>
                  </a:lnTo>
                  <a:lnTo>
                    <a:pt x="0" y="414124"/>
                  </a:lnTo>
                  <a:close/>
                  <a:moveTo>
                    <a:pt x="1254925" y="274653"/>
                  </a:moveTo>
                  <a:lnTo>
                    <a:pt x="1289628" y="279636"/>
                  </a:lnTo>
                  <a:lnTo>
                    <a:pt x="875674" y="394254"/>
                  </a:lnTo>
                  <a:lnTo>
                    <a:pt x="845929" y="386779"/>
                  </a:lnTo>
                  <a:close/>
                  <a:moveTo>
                    <a:pt x="3235912" y="263666"/>
                  </a:moveTo>
                  <a:lnTo>
                    <a:pt x="3289102" y="271157"/>
                  </a:lnTo>
                  <a:lnTo>
                    <a:pt x="3019439" y="344816"/>
                  </a:lnTo>
                  <a:lnTo>
                    <a:pt x="2966248" y="337325"/>
                  </a:lnTo>
                  <a:close/>
                  <a:moveTo>
                    <a:pt x="2168169" y="252676"/>
                  </a:moveTo>
                  <a:lnTo>
                    <a:pt x="2206953" y="258902"/>
                  </a:lnTo>
                  <a:lnTo>
                    <a:pt x="1894182" y="344815"/>
                  </a:lnTo>
                  <a:lnTo>
                    <a:pt x="1856649" y="337344"/>
                  </a:lnTo>
                  <a:close/>
                  <a:moveTo>
                    <a:pt x="807012" y="192255"/>
                  </a:moveTo>
                  <a:lnTo>
                    <a:pt x="839203" y="198394"/>
                  </a:lnTo>
                  <a:lnTo>
                    <a:pt x="478910" y="295393"/>
                  </a:lnTo>
                  <a:lnTo>
                    <a:pt x="450433" y="289254"/>
                  </a:lnTo>
                  <a:close/>
                  <a:moveTo>
                    <a:pt x="1626768" y="175777"/>
                  </a:moveTo>
                  <a:lnTo>
                    <a:pt x="1663144" y="180696"/>
                  </a:lnTo>
                  <a:lnTo>
                    <a:pt x="1379668" y="256945"/>
                  </a:lnTo>
                  <a:lnTo>
                    <a:pt x="1345801" y="250796"/>
                  </a:lnTo>
                  <a:close/>
                  <a:moveTo>
                    <a:pt x="2535076" y="153805"/>
                  </a:moveTo>
                  <a:lnTo>
                    <a:pt x="2574994" y="160143"/>
                  </a:lnTo>
                  <a:lnTo>
                    <a:pt x="2303053" y="234935"/>
                  </a:lnTo>
                  <a:lnTo>
                    <a:pt x="2263135" y="228597"/>
                  </a:lnTo>
                  <a:close/>
                  <a:moveTo>
                    <a:pt x="1151573" y="98874"/>
                  </a:moveTo>
                  <a:lnTo>
                    <a:pt x="1185251" y="105283"/>
                  </a:lnTo>
                  <a:lnTo>
                    <a:pt x="932043" y="174495"/>
                  </a:lnTo>
                  <a:lnTo>
                    <a:pt x="900860" y="169368"/>
                  </a:lnTo>
                  <a:close/>
                  <a:moveTo>
                    <a:pt x="1995065" y="71408"/>
                  </a:moveTo>
                  <a:lnTo>
                    <a:pt x="2031182" y="76558"/>
                  </a:lnTo>
                  <a:lnTo>
                    <a:pt x="1759687" y="152515"/>
                  </a:lnTo>
                  <a:lnTo>
                    <a:pt x="1724816" y="147365"/>
                  </a:lnTo>
                  <a:close/>
                  <a:moveTo>
                    <a:pt x="1519378" y="0"/>
                  </a:moveTo>
                  <a:lnTo>
                    <a:pt x="1553278" y="5150"/>
                  </a:lnTo>
                  <a:lnTo>
                    <a:pt x="1279567" y="81111"/>
                  </a:lnTo>
                  <a:lnTo>
                    <a:pt x="1246923" y="75961"/>
                  </a:lnTo>
                  <a:close/>
                </a:path>
              </a:pathLst>
            </a:custGeom>
            <a:solidFill>
              <a:srgbClr val="4274F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2" name="Freeform 88">
              <a:extLst>
                <a:ext uri="{FF2B5EF4-FFF2-40B4-BE49-F238E27FC236}">
                  <a16:creationId xmlns:a16="http://schemas.microsoft.com/office/drawing/2014/main" id="{85EB55BC-3616-6581-CEB3-808F57DE9E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05284" y="6633285"/>
              <a:ext cx="957474" cy="1384300"/>
            </a:xfrm>
            <a:custGeom>
              <a:avLst/>
              <a:gdLst>
                <a:gd name="T0" fmla="*/ 732 w 733"/>
                <a:gd name="T1" fmla="*/ 0 h 1059"/>
                <a:gd name="T2" fmla="*/ 146 w 733"/>
                <a:gd name="T3" fmla="*/ 24 h 1059"/>
                <a:gd name="T4" fmla="*/ 146 w 733"/>
                <a:gd name="T5" fmla="*/ 24 h 1059"/>
                <a:gd name="T6" fmla="*/ 125 w 733"/>
                <a:gd name="T7" fmla="*/ 38 h 1059"/>
                <a:gd name="T8" fmla="*/ 4 w 733"/>
                <a:gd name="T9" fmla="*/ 319 h 1059"/>
                <a:gd name="T10" fmla="*/ 4 w 733"/>
                <a:gd name="T11" fmla="*/ 319 h 1059"/>
                <a:gd name="T12" fmla="*/ 9 w 733"/>
                <a:gd name="T13" fmla="*/ 345 h 1059"/>
                <a:gd name="T14" fmla="*/ 165 w 733"/>
                <a:gd name="T15" fmla="*/ 501 h 1059"/>
                <a:gd name="T16" fmla="*/ 165 w 733"/>
                <a:gd name="T17" fmla="*/ 501 h 1059"/>
                <a:gd name="T18" fmla="*/ 169 w 733"/>
                <a:gd name="T19" fmla="*/ 528 h 1059"/>
                <a:gd name="T20" fmla="*/ 33 w 733"/>
                <a:gd name="T21" fmla="*/ 818 h 1059"/>
                <a:gd name="T22" fmla="*/ 33 w 733"/>
                <a:gd name="T23" fmla="*/ 818 h 1059"/>
                <a:gd name="T24" fmla="*/ 33 w 733"/>
                <a:gd name="T25" fmla="*/ 839 h 1059"/>
                <a:gd name="T26" fmla="*/ 122 w 733"/>
                <a:gd name="T27" fmla="*/ 1021 h 1059"/>
                <a:gd name="T28" fmla="*/ 122 w 733"/>
                <a:gd name="T29" fmla="*/ 1021 h 1059"/>
                <a:gd name="T30" fmla="*/ 143 w 733"/>
                <a:gd name="T31" fmla="*/ 1034 h 1059"/>
                <a:gd name="T32" fmla="*/ 732 w 733"/>
                <a:gd name="T33" fmla="*/ 1058 h 1059"/>
                <a:gd name="T34" fmla="*/ 732 w 733"/>
                <a:gd name="T35" fmla="*/ 0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3" h="1059">
                  <a:moveTo>
                    <a:pt x="732" y="0"/>
                  </a:moveTo>
                  <a:lnTo>
                    <a:pt x="146" y="24"/>
                  </a:lnTo>
                  <a:lnTo>
                    <a:pt x="146" y="24"/>
                  </a:lnTo>
                  <a:cubicBezTo>
                    <a:pt x="137" y="24"/>
                    <a:pt x="128" y="30"/>
                    <a:pt x="125" y="38"/>
                  </a:cubicBezTo>
                  <a:lnTo>
                    <a:pt x="4" y="319"/>
                  </a:lnTo>
                  <a:lnTo>
                    <a:pt x="4" y="319"/>
                  </a:lnTo>
                  <a:cubicBezTo>
                    <a:pt x="0" y="328"/>
                    <a:pt x="2" y="339"/>
                    <a:pt x="9" y="345"/>
                  </a:cubicBezTo>
                  <a:lnTo>
                    <a:pt x="165" y="501"/>
                  </a:lnTo>
                  <a:lnTo>
                    <a:pt x="165" y="501"/>
                  </a:lnTo>
                  <a:cubicBezTo>
                    <a:pt x="172" y="508"/>
                    <a:pt x="174" y="519"/>
                    <a:pt x="169" y="528"/>
                  </a:cubicBezTo>
                  <a:lnTo>
                    <a:pt x="33" y="818"/>
                  </a:lnTo>
                  <a:lnTo>
                    <a:pt x="33" y="818"/>
                  </a:lnTo>
                  <a:cubicBezTo>
                    <a:pt x="29" y="824"/>
                    <a:pt x="29" y="832"/>
                    <a:pt x="33" y="839"/>
                  </a:cubicBezTo>
                  <a:lnTo>
                    <a:pt x="122" y="1021"/>
                  </a:lnTo>
                  <a:lnTo>
                    <a:pt x="122" y="1021"/>
                  </a:lnTo>
                  <a:cubicBezTo>
                    <a:pt x="125" y="1029"/>
                    <a:pt x="133" y="1034"/>
                    <a:pt x="143" y="1034"/>
                  </a:cubicBezTo>
                  <a:lnTo>
                    <a:pt x="732" y="1058"/>
                  </a:lnTo>
                  <a:lnTo>
                    <a:pt x="732" y="0"/>
                  </a:lnTo>
                </a:path>
              </a:pathLst>
            </a:custGeom>
            <a:gradFill>
              <a:gsLst>
                <a:gs pos="11000">
                  <a:srgbClr val="3E64FC"/>
                </a:gs>
                <a:gs pos="92000">
                  <a:srgbClr val="4388FF"/>
                </a:gs>
              </a:gsLst>
              <a:lin ang="13500000" scaled="0"/>
            </a:gra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3" name="Freeform 89">
              <a:extLst>
                <a:ext uri="{FF2B5EF4-FFF2-40B4-BE49-F238E27FC236}">
                  <a16:creationId xmlns:a16="http://schemas.microsoft.com/office/drawing/2014/main" id="{7120FC6D-5656-4799-0087-CAEE10058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99378" y="6812092"/>
              <a:ext cx="184573" cy="288396"/>
            </a:xfrm>
            <a:custGeom>
              <a:avLst/>
              <a:gdLst>
                <a:gd name="T0" fmla="*/ 61 w 142"/>
                <a:gd name="T1" fmla="*/ 0 h 219"/>
                <a:gd name="T2" fmla="*/ 61 w 142"/>
                <a:gd name="T3" fmla="*/ 0 h 219"/>
                <a:gd name="T4" fmla="*/ 0 w 142"/>
                <a:gd name="T5" fmla="*/ 38 h 219"/>
                <a:gd name="T6" fmla="*/ 0 w 142"/>
                <a:gd name="T7" fmla="*/ 38 h 219"/>
                <a:gd name="T8" fmla="*/ 21 w 142"/>
                <a:gd name="T9" fmla="*/ 112 h 219"/>
                <a:gd name="T10" fmla="*/ 21 w 142"/>
                <a:gd name="T11" fmla="*/ 112 h 219"/>
                <a:gd name="T12" fmla="*/ 3 w 142"/>
                <a:gd name="T13" fmla="*/ 183 h 219"/>
                <a:gd name="T14" fmla="*/ 3 w 142"/>
                <a:gd name="T15" fmla="*/ 183 h 219"/>
                <a:gd name="T16" fmla="*/ 61 w 142"/>
                <a:gd name="T17" fmla="*/ 218 h 219"/>
                <a:gd name="T18" fmla="*/ 61 w 142"/>
                <a:gd name="T19" fmla="*/ 218 h 219"/>
                <a:gd name="T20" fmla="*/ 141 w 142"/>
                <a:gd name="T21" fmla="*/ 109 h 219"/>
                <a:gd name="T22" fmla="*/ 141 w 142"/>
                <a:gd name="T23" fmla="*/ 109 h 219"/>
                <a:gd name="T24" fmla="*/ 61 w 142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" h="219">
                  <a:moveTo>
                    <a:pt x="61" y="0"/>
                  </a:moveTo>
                  <a:lnTo>
                    <a:pt x="61" y="0"/>
                  </a:lnTo>
                  <a:cubicBezTo>
                    <a:pt x="37" y="0"/>
                    <a:pt x="15" y="15"/>
                    <a:pt x="0" y="38"/>
                  </a:cubicBezTo>
                  <a:lnTo>
                    <a:pt x="0" y="38"/>
                  </a:lnTo>
                  <a:cubicBezTo>
                    <a:pt x="14" y="58"/>
                    <a:pt x="21" y="84"/>
                    <a:pt x="21" y="112"/>
                  </a:cubicBezTo>
                  <a:lnTo>
                    <a:pt x="21" y="112"/>
                  </a:lnTo>
                  <a:cubicBezTo>
                    <a:pt x="21" y="139"/>
                    <a:pt x="14" y="164"/>
                    <a:pt x="3" y="183"/>
                  </a:cubicBezTo>
                  <a:lnTo>
                    <a:pt x="3" y="183"/>
                  </a:lnTo>
                  <a:cubicBezTo>
                    <a:pt x="17" y="204"/>
                    <a:pt x="38" y="218"/>
                    <a:pt x="61" y="218"/>
                  </a:cubicBezTo>
                  <a:lnTo>
                    <a:pt x="61" y="218"/>
                  </a:lnTo>
                  <a:cubicBezTo>
                    <a:pt x="106" y="218"/>
                    <a:pt x="141" y="169"/>
                    <a:pt x="141" y="109"/>
                  </a:cubicBezTo>
                  <a:lnTo>
                    <a:pt x="141" y="109"/>
                  </a:lnTo>
                  <a:cubicBezTo>
                    <a:pt x="141" y="49"/>
                    <a:pt x="106" y="0"/>
                    <a:pt x="61" y="0"/>
                  </a:cubicBezTo>
                </a:path>
              </a:pathLst>
            </a:custGeom>
            <a:solidFill>
              <a:srgbClr val="FCC0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4" name="Freeform 90">
              <a:extLst>
                <a:ext uri="{FF2B5EF4-FFF2-40B4-BE49-F238E27FC236}">
                  <a16:creationId xmlns:a16="http://schemas.microsoft.com/office/drawing/2014/main" id="{5BE5D2AF-52EF-8F8D-BCE1-5067CF356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20571" y="6817862"/>
              <a:ext cx="184573" cy="282627"/>
            </a:xfrm>
            <a:custGeom>
              <a:avLst/>
              <a:gdLst>
                <a:gd name="T0" fmla="*/ 139 w 143"/>
                <a:gd name="T1" fmla="*/ 34 h 218"/>
                <a:gd name="T2" fmla="*/ 139 w 143"/>
                <a:gd name="T3" fmla="*/ 34 h 218"/>
                <a:gd name="T4" fmla="*/ 80 w 143"/>
                <a:gd name="T5" fmla="*/ 0 h 218"/>
                <a:gd name="T6" fmla="*/ 80 w 143"/>
                <a:gd name="T7" fmla="*/ 0 h 218"/>
                <a:gd name="T8" fmla="*/ 0 w 143"/>
                <a:gd name="T9" fmla="*/ 108 h 218"/>
                <a:gd name="T10" fmla="*/ 0 w 143"/>
                <a:gd name="T11" fmla="*/ 108 h 218"/>
                <a:gd name="T12" fmla="*/ 80 w 143"/>
                <a:gd name="T13" fmla="*/ 217 h 218"/>
                <a:gd name="T14" fmla="*/ 80 w 143"/>
                <a:gd name="T15" fmla="*/ 217 h 218"/>
                <a:gd name="T16" fmla="*/ 142 w 143"/>
                <a:gd name="T17" fmla="*/ 179 h 218"/>
                <a:gd name="T18" fmla="*/ 142 w 143"/>
                <a:gd name="T19" fmla="*/ 179 h 218"/>
                <a:gd name="T20" fmla="*/ 120 w 143"/>
                <a:gd name="T21" fmla="*/ 105 h 218"/>
                <a:gd name="T22" fmla="*/ 120 w 143"/>
                <a:gd name="T23" fmla="*/ 105 h 218"/>
                <a:gd name="T24" fmla="*/ 139 w 143"/>
                <a:gd name="T25" fmla="*/ 3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3" h="218">
                  <a:moveTo>
                    <a:pt x="139" y="34"/>
                  </a:moveTo>
                  <a:lnTo>
                    <a:pt x="139" y="34"/>
                  </a:lnTo>
                  <a:cubicBezTo>
                    <a:pt x="124" y="13"/>
                    <a:pt x="103" y="0"/>
                    <a:pt x="80" y="0"/>
                  </a:cubicBezTo>
                  <a:lnTo>
                    <a:pt x="80" y="0"/>
                  </a:lnTo>
                  <a:cubicBezTo>
                    <a:pt x="36" y="0"/>
                    <a:pt x="0" y="48"/>
                    <a:pt x="0" y="108"/>
                  </a:cubicBezTo>
                  <a:lnTo>
                    <a:pt x="0" y="108"/>
                  </a:lnTo>
                  <a:cubicBezTo>
                    <a:pt x="0" y="169"/>
                    <a:pt x="36" y="217"/>
                    <a:pt x="80" y="217"/>
                  </a:cubicBezTo>
                  <a:lnTo>
                    <a:pt x="80" y="217"/>
                  </a:lnTo>
                  <a:cubicBezTo>
                    <a:pt x="105" y="217"/>
                    <a:pt x="127" y="202"/>
                    <a:pt x="142" y="179"/>
                  </a:cubicBezTo>
                  <a:lnTo>
                    <a:pt x="142" y="179"/>
                  </a:lnTo>
                  <a:cubicBezTo>
                    <a:pt x="128" y="160"/>
                    <a:pt x="120" y="133"/>
                    <a:pt x="120" y="105"/>
                  </a:cubicBezTo>
                  <a:lnTo>
                    <a:pt x="120" y="105"/>
                  </a:lnTo>
                  <a:cubicBezTo>
                    <a:pt x="120" y="78"/>
                    <a:pt x="127" y="53"/>
                    <a:pt x="139" y="34"/>
                  </a:cubicBezTo>
                </a:path>
              </a:pathLst>
            </a:custGeom>
            <a:solidFill>
              <a:srgbClr val="FD4E4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5" name="Freeform 91">
              <a:extLst>
                <a:ext uri="{FF2B5EF4-FFF2-40B4-BE49-F238E27FC236}">
                  <a16:creationId xmlns:a16="http://schemas.microsoft.com/office/drawing/2014/main" id="{AB494E9F-0ADC-2132-6184-D940601304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76310" y="6864005"/>
              <a:ext cx="51910" cy="190340"/>
            </a:xfrm>
            <a:custGeom>
              <a:avLst/>
              <a:gdLst>
                <a:gd name="T0" fmla="*/ 19 w 41"/>
                <a:gd name="T1" fmla="*/ 0 h 146"/>
                <a:gd name="T2" fmla="*/ 19 w 41"/>
                <a:gd name="T3" fmla="*/ 0 h 146"/>
                <a:gd name="T4" fmla="*/ 0 w 41"/>
                <a:gd name="T5" fmla="*/ 71 h 146"/>
                <a:gd name="T6" fmla="*/ 0 w 41"/>
                <a:gd name="T7" fmla="*/ 71 h 146"/>
                <a:gd name="T8" fmla="*/ 22 w 41"/>
                <a:gd name="T9" fmla="*/ 145 h 146"/>
                <a:gd name="T10" fmla="*/ 22 w 41"/>
                <a:gd name="T11" fmla="*/ 145 h 146"/>
                <a:gd name="T12" fmla="*/ 40 w 41"/>
                <a:gd name="T13" fmla="*/ 74 h 146"/>
                <a:gd name="T14" fmla="*/ 40 w 41"/>
                <a:gd name="T15" fmla="*/ 74 h 146"/>
                <a:gd name="T16" fmla="*/ 19 w 41"/>
                <a:gd name="T17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146">
                  <a:moveTo>
                    <a:pt x="19" y="0"/>
                  </a:moveTo>
                  <a:lnTo>
                    <a:pt x="19" y="0"/>
                  </a:lnTo>
                  <a:cubicBezTo>
                    <a:pt x="7" y="19"/>
                    <a:pt x="0" y="44"/>
                    <a:pt x="0" y="71"/>
                  </a:cubicBezTo>
                  <a:lnTo>
                    <a:pt x="0" y="71"/>
                  </a:lnTo>
                  <a:cubicBezTo>
                    <a:pt x="0" y="99"/>
                    <a:pt x="8" y="126"/>
                    <a:pt x="22" y="145"/>
                  </a:cubicBezTo>
                  <a:lnTo>
                    <a:pt x="22" y="145"/>
                  </a:lnTo>
                  <a:cubicBezTo>
                    <a:pt x="33" y="126"/>
                    <a:pt x="40" y="101"/>
                    <a:pt x="40" y="74"/>
                  </a:cubicBezTo>
                  <a:lnTo>
                    <a:pt x="40" y="74"/>
                  </a:lnTo>
                  <a:cubicBezTo>
                    <a:pt x="40" y="46"/>
                    <a:pt x="33" y="20"/>
                    <a:pt x="19" y="0"/>
                  </a:cubicBezTo>
                </a:path>
              </a:pathLst>
            </a:custGeom>
            <a:solidFill>
              <a:srgbClr val="E2983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6" name="Freeform 46">
              <a:extLst>
                <a:ext uri="{FF2B5EF4-FFF2-40B4-BE49-F238E27FC236}">
                  <a16:creationId xmlns:a16="http://schemas.microsoft.com/office/drawing/2014/main" id="{CA5E9B52-E4B7-79D9-638B-C98AC4A622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32179" y="7538847"/>
              <a:ext cx="465862" cy="73714"/>
            </a:xfrm>
            <a:custGeom>
              <a:avLst/>
              <a:gdLst>
                <a:gd name="connsiteX0" fmla="*/ 418111 w 443661"/>
                <a:gd name="connsiteY0" fmla="*/ 7262 h 70201"/>
                <a:gd name="connsiteX1" fmla="*/ 405337 w 443661"/>
                <a:gd name="connsiteY1" fmla="*/ 14525 h 70201"/>
                <a:gd name="connsiteX2" fmla="*/ 401504 w 443661"/>
                <a:gd name="connsiteY2" fmla="*/ 36311 h 70201"/>
                <a:gd name="connsiteX3" fmla="*/ 404059 w 443661"/>
                <a:gd name="connsiteY3" fmla="*/ 52046 h 70201"/>
                <a:gd name="connsiteX4" fmla="*/ 416834 w 443661"/>
                <a:gd name="connsiteY4" fmla="*/ 61728 h 70201"/>
                <a:gd name="connsiteX5" fmla="*/ 428331 w 443661"/>
                <a:gd name="connsiteY5" fmla="*/ 56887 h 70201"/>
                <a:gd name="connsiteX6" fmla="*/ 433441 w 443661"/>
                <a:gd name="connsiteY6" fmla="*/ 33890 h 70201"/>
                <a:gd name="connsiteX7" fmla="*/ 429608 w 443661"/>
                <a:gd name="connsiteY7" fmla="*/ 15735 h 70201"/>
                <a:gd name="connsiteX8" fmla="*/ 418111 w 443661"/>
                <a:gd name="connsiteY8" fmla="*/ 7262 h 70201"/>
                <a:gd name="connsiteX9" fmla="*/ 355740 w 443661"/>
                <a:gd name="connsiteY9" fmla="*/ 7262 h 70201"/>
                <a:gd name="connsiteX10" fmla="*/ 343969 w 443661"/>
                <a:gd name="connsiteY10" fmla="*/ 14525 h 70201"/>
                <a:gd name="connsiteX11" fmla="*/ 338737 w 443661"/>
                <a:gd name="connsiteY11" fmla="*/ 36311 h 70201"/>
                <a:gd name="connsiteX12" fmla="*/ 341353 w 443661"/>
                <a:gd name="connsiteY12" fmla="*/ 52046 h 70201"/>
                <a:gd name="connsiteX13" fmla="*/ 355740 w 443661"/>
                <a:gd name="connsiteY13" fmla="*/ 61728 h 70201"/>
                <a:gd name="connsiteX14" fmla="*/ 368818 w 443661"/>
                <a:gd name="connsiteY14" fmla="*/ 56887 h 70201"/>
                <a:gd name="connsiteX15" fmla="*/ 372742 w 443661"/>
                <a:gd name="connsiteY15" fmla="*/ 33890 h 70201"/>
                <a:gd name="connsiteX16" fmla="*/ 368818 w 443661"/>
                <a:gd name="connsiteY16" fmla="*/ 15735 h 70201"/>
                <a:gd name="connsiteX17" fmla="*/ 355740 w 443661"/>
                <a:gd name="connsiteY17" fmla="*/ 7262 h 70201"/>
                <a:gd name="connsiteX18" fmla="*/ 295988 w 443661"/>
                <a:gd name="connsiteY18" fmla="*/ 7262 h 70201"/>
                <a:gd name="connsiteX19" fmla="*/ 283213 w 443661"/>
                <a:gd name="connsiteY19" fmla="*/ 14525 h 70201"/>
                <a:gd name="connsiteX20" fmla="*/ 279381 w 443661"/>
                <a:gd name="connsiteY20" fmla="*/ 36311 h 70201"/>
                <a:gd name="connsiteX21" fmla="*/ 283213 w 443661"/>
                <a:gd name="connsiteY21" fmla="*/ 52046 h 70201"/>
                <a:gd name="connsiteX22" fmla="*/ 295988 w 443661"/>
                <a:gd name="connsiteY22" fmla="*/ 61728 h 70201"/>
                <a:gd name="connsiteX23" fmla="*/ 307485 w 443661"/>
                <a:gd name="connsiteY23" fmla="*/ 56887 h 70201"/>
                <a:gd name="connsiteX24" fmla="*/ 312595 w 443661"/>
                <a:gd name="connsiteY24" fmla="*/ 33890 h 70201"/>
                <a:gd name="connsiteX25" fmla="*/ 310040 w 443661"/>
                <a:gd name="connsiteY25" fmla="*/ 15735 h 70201"/>
                <a:gd name="connsiteX26" fmla="*/ 295988 w 443661"/>
                <a:gd name="connsiteY26" fmla="*/ 7262 h 70201"/>
                <a:gd name="connsiteX27" fmla="*/ 236201 w 443661"/>
                <a:gd name="connsiteY27" fmla="*/ 7262 h 70201"/>
                <a:gd name="connsiteX28" fmla="*/ 224430 w 443661"/>
                <a:gd name="connsiteY28" fmla="*/ 14525 h 70201"/>
                <a:gd name="connsiteX29" fmla="*/ 219198 w 443661"/>
                <a:gd name="connsiteY29" fmla="*/ 36311 h 70201"/>
                <a:gd name="connsiteX30" fmla="*/ 221814 w 443661"/>
                <a:gd name="connsiteY30" fmla="*/ 52046 h 70201"/>
                <a:gd name="connsiteX31" fmla="*/ 236201 w 443661"/>
                <a:gd name="connsiteY31" fmla="*/ 61728 h 70201"/>
                <a:gd name="connsiteX32" fmla="*/ 247971 w 443661"/>
                <a:gd name="connsiteY32" fmla="*/ 56887 h 70201"/>
                <a:gd name="connsiteX33" fmla="*/ 253203 w 443661"/>
                <a:gd name="connsiteY33" fmla="*/ 33890 h 70201"/>
                <a:gd name="connsiteX34" fmla="*/ 249279 w 443661"/>
                <a:gd name="connsiteY34" fmla="*/ 15735 h 70201"/>
                <a:gd name="connsiteX35" fmla="*/ 236201 w 443661"/>
                <a:gd name="connsiteY35" fmla="*/ 7262 h 70201"/>
                <a:gd name="connsiteX36" fmla="*/ 147674 w 443661"/>
                <a:gd name="connsiteY36" fmla="*/ 7262 h 70201"/>
                <a:gd name="connsiteX37" fmla="*/ 134899 w 443661"/>
                <a:gd name="connsiteY37" fmla="*/ 14525 h 70201"/>
                <a:gd name="connsiteX38" fmla="*/ 131067 w 443661"/>
                <a:gd name="connsiteY38" fmla="*/ 36311 h 70201"/>
                <a:gd name="connsiteX39" fmla="*/ 133622 w 443661"/>
                <a:gd name="connsiteY39" fmla="*/ 52046 h 70201"/>
                <a:gd name="connsiteX40" fmla="*/ 147674 w 443661"/>
                <a:gd name="connsiteY40" fmla="*/ 61728 h 70201"/>
                <a:gd name="connsiteX41" fmla="*/ 159171 w 443661"/>
                <a:gd name="connsiteY41" fmla="*/ 56887 h 70201"/>
                <a:gd name="connsiteX42" fmla="*/ 163003 w 443661"/>
                <a:gd name="connsiteY42" fmla="*/ 33890 h 70201"/>
                <a:gd name="connsiteX43" fmla="*/ 160448 w 443661"/>
                <a:gd name="connsiteY43" fmla="*/ 15735 h 70201"/>
                <a:gd name="connsiteX44" fmla="*/ 147674 w 443661"/>
                <a:gd name="connsiteY44" fmla="*/ 7262 h 70201"/>
                <a:gd name="connsiteX45" fmla="*/ 87252 w 443661"/>
                <a:gd name="connsiteY45" fmla="*/ 7262 h 70201"/>
                <a:gd name="connsiteX46" fmla="*/ 74477 w 443661"/>
                <a:gd name="connsiteY46" fmla="*/ 14525 h 70201"/>
                <a:gd name="connsiteX47" fmla="*/ 70645 w 443661"/>
                <a:gd name="connsiteY47" fmla="*/ 36311 h 70201"/>
                <a:gd name="connsiteX48" fmla="*/ 73200 w 443661"/>
                <a:gd name="connsiteY48" fmla="*/ 52046 h 70201"/>
                <a:gd name="connsiteX49" fmla="*/ 85974 w 443661"/>
                <a:gd name="connsiteY49" fmla="*/ 61728 h 70201"/>
                <a:gd name="connsiteX50" fmla="*/ 98749 w 443661"/>
                <a:gd name="connsiteY50" fmla="*/ 56887 h 70201"/>
                <a:gd name="connsiteX51" fmla="*/ 103859 w 443661"/>
                <a:gd name="connsiteY51" fmla="*/ 33890 h 70201"/>
                <a:gd name="connsiteX52" fmla="*/ 100026 w 443661"/>
                <a:gd name="connsiteY52" fmla="*/ 15735 h 70201"/>
                <a:gd name="connsiteX53" fmla="*/ 87252 w 443661"/>
                <a:gd name="connsiteY53" fmla="*/ 7262 h 70201"/>
                <a:gd name="connsiteX54" fmla="*/ 27465 w 443661"/>
                <a:gd name="connsiteY54" fmla="*/ 7262 h 70201"/>
                <a:gd name="connsiteX55" fmla="*/ 14387 w 443661"/>
                <a:gd name="connsiteY55" fmla="*/ 14525 h 70201"/>
                <a:gd name="connsiteX56" fmla="*/ 10463 w 443661"/>
                <a:gd name="connsiteY56" fmla="*/ 36311 h 70201"/>
                <a:gd name="connsiteX57" fmla="*/ 13079 w 443661"/>
                <a:gd name="connsiteY57" fmla="*/ 52046 h 70201"/>
                <a:gd name="connsiteX58" fmla="*/ 26158 w 443661"/>
                <a:gd name="connsiteY58" fmla="*/ 61728 h 70201"/>
                <a:gd name="connsiteX59" fmla="*/ 39236 w 443661"/>
                <a:gd name="connsiteY59" fmla="*/ 56887 h 70201"/>
                <a:gd name="connsiteX60" fmla="*/ 43160 w 443661"/>
                <a:gd name="connsiteY60" fmla="*/ 33890 h 70201"/>
                <a:gd name="connsiteX61" fmla="*/ 40544 w 443661"/>
                <a:gd name="connsiteY61" fmla="*/ 15735 h 70201"/>
                <a:gd name="connsiteX62" fmla="*/ 27465 w 443661"/>
                <a:gd name="connsiteY62" fmla="*/ 7262 h 70201"/>
                <a:gd name="connsiteX63" fmla="*/ 416834 w 443661"/>
                <a:gd name="connsiteY63" fmla="*/ 0 h 70201"/>
                <a:gd name="connsiteX64" fmla="*/ 438551 w 443661"/>
                <a:gd name="connsiteY64" fmla="*/ 10893 h 70201"/>
                <a:gd name="connsiteX65" fmla="*/ 443661 w 443661"/>
                <a:gd name="connsiteY65" fmla="*/ 33890 h 70201"/>
                <a:gd name="connsiteX66" fmla="*/ 438551 w 443661"/>
                <a:gd name="connsiteY66" fmla="*/ 56887 h 70201"/>
                <a:gd name="connsiteX67" fmla="*/ 416834 w 443661"/>
                <a:gd name="connsiteY67" fmla="*/ 70201 h 70201"/>
                <a:gd name="connsiteX68" fmla="*/ 396394 w 443661"/>
                <a:gd name="connsiteY68" fmla="*/ 59308 h 70201"/>
                <a:gd name="connsiteX69" fmla="*/ 390007 w 443661"/>
                <a:gd name="connsiteY69" fmla="*/ 35101 h 70201"/>
                <a:gd name="connsiteX70" fmla="*/ 393839 w 443661"/>
                <a:gd name="connsiteY70" fmla="*/ 15735 h 70201"/>
                <a:gd name="connsiteX71" fmla="*/ 416834 w 443661"/>
                <a:gd name="connsiteY71" fmla="*/ 0 h 70201"/>
                <a:gd name="connsiteX72" fmla="*/ 355740 w 443661"/>
                <a:gd name="connsiteY72" fmla="*/ 0 h 70201"/>
                <a:gd name="connsiteX73" fmla="*/ 377974 w 443661"/>
                <a:gd name="connsiteY73" fmla="*/ 10893 h 70201"/>
                <a:gd name="connsiteX74" fmla="*/ 383205 w 443661"/>
                <a:gd name="connsiteY74" fmla="*/ 33890 h 70201"/>
                <a:gd name="connsiteX75" fmla="*/ 377974 w 443661"/>
                <a:gd name="connsiteY75" fmla="*/ 56887 h 70201"/>
                <a:gd name="connsiteX76" fmla="*/ 355740 w 443661"/>
                <a:gd name="connsiteY76" fmla="*/ 70201 h 70201"/>
                <a:gd name="connsiteX77" fmla="*/ 334814 w 443661"/>
                <a:gd name="connsiteY77" fmla="*/ 59308 h 70201"/>
                <a:gd name="connsiteX78" fmla="*/ 329582 w 443661"/>
                <a:gd name="connsiteY78" fmla="*/ 35101 h 70201"/>
                <a:gd name="connsiteX79" fmla="*/ 332198 w 443661"/>
                <a:gd name="connsiteY79" fmla="*/ 15735 h 70201"/>
                <a:gd name="connsiteX80" fmla="*/ 355740 w 443661"/>
                <a:gd name="connsiteY80" fmla="*/ 0 h 70201"/>
                <a:gd name="connsiteX81" fmla="*/ 295988 w 443661"/>
                <a:gd name="connsiteY81" fmla="*/ 0 h 70201"/>
                <a:gd name="connsiteX82" fmla="*/ 317705 w 443661"/>
                <a:gd name="connsiteY82" fmla="*/ 10893 h 70201"/>
                <a:gd name="connsiteX83" fmla="*/ 322815 w 443661"/>
                <a:gd name="connsiteY83" fmla="*/ 33890 h 70201"/>
                <a:gd name="connsiteX84" fmla="*/ 317705 w 443661"/>
                <a:gd name="connsiteY84" fmla="*/ 56887 h 70201"/>
                <a:gd name="connsiteX85" fmla="*/ 295988 w 443661"/>
                <a:gd name="connsiteY85" fmla="*/ 70201 h 70201"/>
                <a:gd name="connsiteX86" fmla="*/ 275548 w 443661"/>
                <a:gd name="connsiteY86" fmla="*/ 59308 h 70201"/>
                <a:gd name="connsiteX87" fmla="*/ 269161 w 443661"/>
                <a:gd name="connsiteY87" fmla="*/ 35101 h 70201"/>
                <a:gd name="connsiteX88" fmla="*/ 272993 w 443661"/>
                <a:gd name="connsiteY88" fmla="*/ 15735 h 70201"/>
                <a:gd name="connsiteX89" fmla="*/ 295988 w 443661"/>
                <a:gd name="connsiteY89" fmla="*/ 0 h 70201"/>
                <a:gd name="connsiteX90" fmla="*/ 236201 w 443661"/>
                <a:gd name="connsiteY90" fmla="*/ 0 h 70201"/>
                <a:gd name="connsiteX91" fmla="*/ 258434 w 443661"/>
                <a:gd name="connsiteY91" fmla="*/ 10893 h 70201"/>
                <a:gd name="connsiteX92" fmla="*/ 262358 w 443661"/>
                <a:gd name="connsiteY92" fmla="*/ 33890 h 70201"/>
                <a:gd name="connsiteX93" fmla="*/ 259742 w 443661"/>
                <a:gd name="connsiteY93" fmla="*/ 56887 h 70201"/>
                <a:gd name="connsiteX94" fmla="*/ 236201 w 443661"/>
                <a:gd name="connsiteY94" fmla="*/ 70201 h 70201"/>
                <a:gd name="connsiteX95" fmla="*/ 215274 w 443661"/>
                <a:gd name="connsiteY95" fmla="*/ 59308 h 70201"/>
                <a:gd name="connsiteX96" fmla="*/ 208735 w 443661"/>
                <a:gd name="connsiteY96" fmla="*/ 35101 h 70201"/>
                <a:gd name="connsiteX97" fmla="*/ 212659 w 443661"/>
                <a:gd name="connsiteY97" fmla="*/ 15735 h 70201"/>
                <a:gd name="connsiteX98" fmla="*/ 236201 w 443661"/>
                <a:gd name="connsiteY98" fmla="*/ 0 h 70201"/>
                <a:gd name="connsiteX99" fmla="*/ 147674 w 443661"/>
                <a:gd name="connsiteY99" fmla="*/ 0 h 70201"/>
                <a:gd name="connsiteX100" fmla="*/ 169391 w 443661"/>
                <a:gd name="connsiteY100" fmla="*/ 10893 h 70201"/>
                <a:gd name="connsiteX101" fmla="*/ 174501 w 443661"/>
                <a:gd name="connsiteY101" fmla="*/ 33890 h 70201"/>
                <a:gd name="connsiteX102" fmla="*/ 169391 w 443661"/>
                <a:gd name="connsiteY102" fmla="*/ 56887 h 70201"/>
                <a:gd name="connsiteX103" fmla="*/ 147674 w 443661"/>
                <a:gd name="connsiteY103" fmla="*/ 70201 h 70201"/>
                <a:gd name="connsiteX104" fmla="*/ 127234 w 443661"/>
                <a:gd name="connsiteY104" fmla="*/ 59308 h 70201"/>
                <a:gd name="connsiteX105" fmla="*/ 120847 w 443661"/>
                <a:gd name="connsiteY105" fmla="*/ 35101 h 70201"/>
                <a:gd name="connsiteX106" fmla="*/ 124679 w 443661"/>
                <a:gd name="connsiteY106" fmla="*/ 15735 h 70201"/>
                <a:gd name="connsiteX107" fmla="*/ 147674 w 443661"/>
                <a:gd name="connsiteY107" fmla="*/ 0 h 70201"/>
                <a:gd name="connsiteX108" fmla="*/ 87252 w 443661"/>
                <a:gd name="connsiteY108" fmla="*/ 0 h 70201"/>
                <a:gd name="connsiteX109" fmla="*/ 107691 w 443661"/>
                <a:gd name="connsiteY109" fmla="*/ 10893 h 70201"/>
                <a:gd name="connsiteX110" fmla="*/ 114079 w 443661"/>
                <a:gd name="connsiteY110" fmla="*/ 33890 h 70201"/>
                <a:gd name="connsiteX111" fmla="*/ 108969 w 443661"/>
                <a:gd name="connsiteY111" fmla="*/ 56887 h 70201"/>
                <a:gd name="connsiteX112" fmla="*/ 87252 w 443661"/>
                <a:gd name="connsiteY112" fmla="*/ 70201 h 70201"/>
                <a:gd name="connsiteX113" fmla="*/ 65535 w 443661"/>
                <a:gd name="connsiteY113" fmla="*/ 59308 h 70201"/>
                <a:gd name="connsiteX114" fmla="*/ 60425 w 443661"/>
                <a:gd name="connsiteY114" fmla="*/ 35101 h 70201"/>
                <a:gd name="connsiteX115" fmla="*/ 62980 w 443661"/>
                <a:gd name="connsiteY115" fmla="*/ 15735 h 70201"/>
                <a:gd name="connsiteX116" fmla="*/ 87252 w 443661"/>
                <a:gd name="connsiteY116" fmla="*/ 0 h 70201"/>
                <a:gd name="connsiteX117" fmla="*/ 26158 w 443661"/>
                <a:gd name="connsiteY117" fmla="*/ 0 h 70201"/>
                <a:gd name="connsiteX118" fmla="*/ 49699 w 443661"/>
                <a:gd name="connsiteY118" fmla="*/ 10893 h 70201"/>
                <a:gd name="connsiteX119" fmla="*/ 53623 w 443661"/>
                <a:gd name="connsiteY119" fmla="*/ 33890 h 70201"/>
                <a:gd name="connsiteX120" fmla="*/ 49699 w 443661"/>
                <a:gd name="connsiteY120" fmla="*/ 56887 h 70201"/>
                <a:gd name="connsiteX121" fmla="*/ 26158 w 443661"/>
                <a:gd name="connsiteY121" fmla="*/ 70201 h 70201"/>
                <a:gd name="connsiteX122" fmla="*/ 5232 w 443661"/>
                <a:gd name="connsiteY122" fmla="*/ 59308 h 70201"/>
                <a:gd name="connsiteX123" fmla="*/ 0 w 443661"/>
                <a:gd name="connsiteY123" fmla="*/ 35101 h 70201"/>
                <a:gd name="connsiteX124" fmla="*/ 3924 w 443661"/>
                <a:gd name="connsiteY124" fmla="*/ 15735 h 70201"/>
                <a:gd name="connsiteX125" fmla="*/ 26158 w 443661"/>
                <a:gd name="connsiteY125" fmla="*/ 0 h 70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443661" h="70201">
                  <a:moveTo>
                    <a:pt x="418111" y="7262"/>
                  </a:moveTo>
                  <a:cubicBezTo>
                    <a:pt x="411724" y="7262"/>
                    <a:pt x="407892" y="9683"/>
                    <a:pt x="405337" y="14525"/>
                  </a:cubicBezTo>
                  <a:cubicBezTo>
                    <a:pt x="402782" y="19366"/>
                    <a:pt x="401504" y="26628"/>
                    <a:pt x="401504" y="36311"/>
                  </a:cubicBezTo>
                  <a:cubicBezTo>
                    <a:pt x="401504" y="42363"/>
                    <a:pt x="402782" y="48414"/>
                    <a:pt x="404059" y="52046"/>
                  </a:cubicBezTo>
                  <a:cubicBezTo>
                    <a:pt x="405337" y="59308"/>
                    <a:pt x="410446" y="61728"/>
                    <a:pt x="416834" y="61728"/>
                  </a:cubicBezTo>
                  <a:cubicBezTo>
                    <a:pt x="421944" y="61728"/>
                    <a:pt x="425776" y="60518"/>
                    <a:pt x="428331" y="56887"/>
                  </a:cubicBezTo>
                  <a:cubicBezTo>
                    <a:pt x="432163" y="52046"/>
                    <a:pt x="433441" y="44783"/>
                    <a:pt x="433441" y="33890"/>
                  </a:cubicBezTo>
                  <a:cubicBezTo>
                    <a:pt x="433441" y="26628"/>
                    <a:pt x="432163" y="20576"/>
                    <a:pt x="429608" y="15735"/>
                  </a:cubicBezTo>
                  <a:cubicBezTo>
                    <a:pt x="428331" y="9683"/>
                    <a:pt x="424499" y="7262"/>
                    <a:pt x="418111" y="7262"/>
                  </a:cubicBezTo>
                  <a:close/>
                  <a:moveTo>
                    <a:pt x="355740" y="7262"/>
                  </a:moveTo>
                  <a:cubicBezTo>
                    <a:pt x="350508" y="7262"/>
                    <a:pt x="345277" y="9683"/>
                    <a:pt x="343969" y="14525"/>
                  </a:cubicBezTo>
                  <a:cubicBezTo>
                    <a:pt x="341353" y="19366"/>
                    <a:pt x="338737" y="26628"/>
                    <a:pt x="338737" y="36311"/>
                  </a:cubicBezTo>
                  <a:cubicBezTo>
                    <a:pt x="338737" y="42363"/>
                    <a:pt x="340045" y="48414"/>
                    <a:pt x="341353" y="52046"/>
                  </a:cubicBezTo>
                  <a:cubicBezTo>
                    <a:pt x="343969" y="59308"/>
                    <a:pt x="349200" y="61728"/>
                    <a:pt x="355740" y="61728"/>
                  </a:cubicBezTo>
                  <a:cubicBezTo>
                    <a:pt x="360971" y="61728"/>
                    <a:pt x="364895" y="60518"/>
                    <a:pt x="368818" y="56887"/>
                  </a:cubicBezTo>
                  <a:cubicBezTo>
                    <a:pt x="370126" y="52046"/>
                    <a:pt x="372742" y="44783"/>
                    <a:pt x="372742" y="33890"/>
                  </a:cubicBezTo>
                  <a:cubicBezTo>
                    <a:pt x="372742" y="26628"/>
                    <a:pt x="371434" y="20576"/>
                    <a:pt x="368818" y="15735"/>
                  </a:cubicBezTo>
                  <a:cubicBezTo>
                    <a:pt x="366203" y="9683"/>
                    <a:pt x="362279" y="7262"/>
                    <a:pt x="355740" y="7262"/>
                  </a:cubicBezTo>
                  <a:close/>
                  <a:moveTo>
                    <a:pt x="295988" y="7262"/>
                  </a:moveTo>
                  <a:cubicBezTo>
                    <a:pt x="290878" y="7262"/>
                    <a:pt x="287046" y="9683"/>
                    <a:pt x="283213" y="14525"/>
                  </a:cubicBezTo>
                  <a:cubicBezTo>
                    <a:pt x="280658" y="19366"/>
                    <a:pt x="279381" y="26628"/>
                    <a:pt x="279381" y="36311"/>
                  </a:cubicBezTo>
                  <a:cubicBezTo>
                    <a:pt x="279381" y="42363"/>
                    <a:pt x="280658" y="48414"/>
                    <a:pt x="283213" y="52046"/>
                  </a:cubicBezTo>
                  <a:cubicBezTo>
                    <a:pt x="284491" y="59308"/>
                    <a:pt x="289600" y="61728"/>
                    <a:pt x="295988" y="61728"/>
                  </a:cubicBezTo>
                  <a:cubicBezTo>
                    <a:pt x="301098" y="61728"/>
                    <a:pt x="304930" y="60518"/>
                    <a:pt x="307485" y="56887"/>
                  </a:cubicBezTo>
                  <a:cubicBezTo>
                    <a:pt x="311317" y="52046"/>
                    <a:pt x="312595" y="44783"/>
                    <a:pt x="312595" y="33890"/>
                  </a:cubicBezTo>
                  <a:cubicBezTo>
                    <a:pt x="312595" y="26628"/>
                    <a:pt x="311317" y="20576"/>
                    <a:pt x="310040" y="15735"/>
                  </a:cubicBezTo>
                  <a:cubicBezTo>
                    <a:pt x="307485" y="9683"/>
                    <a:pt x="302375" y="7262"/>
                    <a:pt x="295988" y="7262"/>
                  </a:cubicBezTo>
                  <a:close/>
                  <a:moveTo>
                    <a:pt x="236201" y="7262"/>
                  </a:moveTo>
                  <a:cubicBezTo>
                    <a:pt x="230969" y="7262"/>
                    <a:pt x="225737" y="9683"/>
                    <a:pt x="224430" y="14525"/>
                  </a:cubicBezTo>
                  <a:cubicBezTo>
                    <a:pt x="220506" y="19366"/>
                    <a:pt x="219198" y="26628"/>
                    <a:pt x="219198" y="36311"/>
                  </a:cubicBezTo>
                  <a:cubicBezTo>
                    <a:pt x="219198" y="42363"/>
                    <a:pt x="220506" y="48414"/>
                    <a:pt x="221814" y="52046"/>
                  </a:cubicBezTo>
                  <a:cubicBezTo>
                    <a:pt x="224430" y="59308"/>
                    <a:pt x="229661" y="61728"/>
                    <a:pt x="236201" y="61728"/>
                  </a:cubicBezTo>
                  <a:cubicBezTo>
                    <a:pt x="240124" y="61728"/>
                    <a:pt x="245356" y="60518"/>
                    <a:pt x="247971" y="56887"/>
                  </a:cubicBezTo>
                  <a:cubicBezTo>
                    <a:pt x="250587" y="52046"/>
                    <a:pt x="253203" y="44783"/>
                    <a:pt x="253203" y="33890"/>
                  </a:cubicBezTo>
                  <a:cubicBezTo>
                    <a:pt x="253203" y="26628"/>
                    <a:pt x="251895" y="20576"/>
                    <a:pt x="249279" y="15735"/>
                  </a:cubicBezTo>
                  <a:cubicBezTo>
                    <a:pt x="246664" y="9683"/>
                    <a:pt x="242740" y="7262"/>
                    <a:pt x="236201" y="7262"/>
                  </a:cubicBezTo>
                  <a:close/>
                  <a:moveTo>
                    <a:pt x="147674" y="7262"/>
                  </a:moveTo>
                  <a:cubicBezTo>
                    <a:pt x="142564" y="7262"/>
                    <a:pt x="137454" y="9683"/>
                    <a:pt x="134899" y="14525"/>
                  </a:cubicBezTo>
                  <a:cubicBezTo>
                    <a:pt x="133622" y="19366"/>
                    <a:pt x="131067" y="26628"/>
                    <a:pt x="131067" y="36311"/>
                  </a:cubicBezTo>
                  <a:cubicBezTo>
                    <a:pt x="131067" y="42363"/>
                    <a:pt x="132344" y="48414"/>
                    <a:pt x="133622" y="52046"/>
                  </a:cubicBezTo>
                  <a:cubicBezTo>
                    <a:pt x="136177" y="59308"/>
                    <a:pt x="141286" y="61728"/>
                    <a:pt x="147674" y="61728"/>
                  </a:cubicBezTo>
                  <a:cubicBezTo>
                    <a:pt x="152784" y="61728"/>
                    <a:pt x="156616" y="60518"/>
                    <a:pt x="159171" y="56887"/>
                  </a:cubicBezTo>
                  <a:cubicBezTo>
                    <a:pt x="161726" y="52046"/>
                    <a:pt x="163003" y="44783"/>
                    <a:pt x="163003" y="33890"/>
                  </a:cubicBezTo>
                  <a:cubicBezTo>
                    <a:pt x="163003" y="26628"/>
                    <a:pt x="163003" y="20576"/>
                    <a:pt x="160448" y="15735"/>
                  </a:cubicBezTo>
                  <a:cubicBezTo>
                    <a:pt x="157893" y="9683"/>
                    <a:pt x="154061" y="7262"/>
                    <a:pt x="147674" y="7262"/>
                  </a:cubicBezTo>
                  <a:close/>
                  <a:moveTo>
                    <a:pt x="87252" y="7262"/>
                  </a:moveTo>
                  <a:cubicBezTo>
                    <a:pt x="82142" y="7262"/>
                    <a:pt x="77032" y="9683"/>
                    <a:pt x="74477" y="14525"/>
                  </a:cubicBezTo>
                  <a:cubicBezTo>
                    <a:pt x="71922" y="19366"/>
                    <a:pt x="70645" y="26628"/>
                    <a:pt x="70645" y="36311"/>
                  </a:cubicBezTo>
                  <a:cubicBezTo>
                    <a:pt x="70645" y="42363"/>
                    <a:pt x="71922" y="48414"/>
                    <a:pt x="73200" y="52046"/>
                  </a:cubicBezTo>
                  <a:cubicBezTo>
                    <a:pt x="75755" y="59308"/>
                    <a:pt x="79587" y="61728"/>
                    <a:pt x="85974" y="61728"/>
                  </a:cubicBezTo>
                  <a:cubicBezTo>
                    <a:pt x="91084" y="61728"/>
                    <a:pt x="96194" y="60518"/>
                    <a:pt x="98749" y="56887"/>
                  </a:cubicBezTo>
                  <a:cubicBezTo>
                    <a:pt x="102581" y="52046"/>
                    <a:pt x="103859" y="44783"/>
                    <a:pt x="103859" y="33890"/>
                  </a:cubicBezTo>
                  <a:cubicBezTo>
                    <a:pt x="103859" y="26628"/>
                    <a:pt x="102581" y="20576"/>
                    <a:pt x="100026" y="15735"/>
                  </a:cubicBezTo>
                  <a:cubicBezTo>
                    <a:pt x="97471" y="9683"/>
                    <a:pt x="93639" y="7262"/>
                    <a:pt x="87252" y="7262"/>
                  </a:cubicBezTo>
                  <a:close/>
                  <a:moveTo>
                    <a:pt x="27465" y="7262"/>
                  </a:moveTo>
                  <a:cubicBezTo>
                    <a:pt x="20926" y="7262"/>
                    <a:pt x="17002" y="9683"/>
                    <a:pt x="14387" y="14525"/>
                  </a:cubicBezTo>
                  <a:cubicBezTo>
                    <a:pt x="11771" y="19366"/>
                    <a:pt x="10463" y="26628"/>
                    <a:pt x="10463" y="36311"/>
                  </a:cubicBezTo>
                  <a:cubicBezTo>
                    <a:pt x="10463" y="42363"/>
                    <a:pt x="11771" y="48414"/>
                    <a:pt x="13079" y="52046"/>
                  </a:cubicBezTo>
                  <a:cubicBezTo>
                    <a:pt x="15695" y="59308"/>
                    <a:pt x="20926" y="61728"/>
                    <a:pt x="26158" y="61728"/>
                  </a:cubicBezTo>
                  <a:cubicBezTo>
                    <a:pt x="31389" y="61728"/>
                    <a:pt x="35313" y="60518"/>
                    <a:pt x="39236" y="56887"/>
                  </a:cubicBezTo>
                  <a:cubicBezTo>
                    <a:pt x="41852" y="52046"/>
                    <a:pt x="43160" y="44783"/>
                    <a:pt x="43160" y="33890"/>
                  </a:cubicBezTo>
                  <a:cubicBezTo>
                    <a:pt x="43160" y="26628"/>
                    <a:pt x="43160" y="20576"/>
                    <a:pt x="40544" y="15735"/>
                  </a:cubicBezTo>
                  <a:cubicBezTo>
                    <a:pt x="37929" y="9683"/>
                    <a:pt x="34005" y="7262"/>
                    <a:pt x="27465" y="7262"/>
                  </a:cubicBezTo>
                  <a:close/>
                  <a:moveTo>
                    <a:pt x="416834" y="0"/>
                  </a:moveTo>
                  <a:cubicBezTo>
                    <a:pt x="427053" y="0"/>
                    <a:pt x="434718" y="3631"/>
                    <a:pt x="438551" y="10893"/>
                  </a:cubicBezTo>
                  <a:cubicBezTo>
                    <a:pt x="442383" y="16945"/>
                    <a:pt x="443661" y="24207"/>
                    <a:pt x="443661" y="33890"/>
                  </a:cubicBezTo>
                  <a:cubicBezTo>
                    <a:pt x="443661" y="43573"/>
                    <a:pt x="442383" y="50835"/>
                    <a:pt x="438551" y="56887"/>
                  </a:cubicBezTo>
                  <a:cubicBezTo>
                    <a:pt x="434718" y="65359"/>
                    <a:pt x="427053" y="70201"/>
                    <a:pt x="416834" y="70201"/>
                  </a:cubicBezTo>
                  <a:cubicBezTo>
                    <a:pt x="407892" y="70201"/>
                    <a:pt x="400227" y="66570"/>
                    <a:pt x="396394" y="59308"/>
                  </a:cubicBezTo>
                  <a:cubicBezTo>
                    <a:pt x="392562" y="53256"/>
                    <a:pt x="390007" y="45994"/>
                    <a:pt x="390007" y="35101"/>
                  </a:cubicBezTo>
                  <a:cubicBezTo>
                    <a:pt x="390007" y="27838"/>
                    <a:pt x="391284" y="20576"/>
                    <a:pt x="393839" y="15735"/>
                  </a:cubicBezTo>
                  <a:cubicBezTo>
                    <a:pt x="397672" y="4842"/>
                    <a:pt x="405337" y="0"/>
                    <a:pt x="416834" y="0"/>
                  </a:cubicBezTo>
                  <a:close/>
                  <a:moveTo>
                    <a:pt x="355740" y="0"/>
                  </a:moveTo>
                  <a:cubicBezTo>
                    <a:pt x="366203" y="0"/>
                    <a:pt x="372742" y="3631"/>
                    <a:pt x="377974" y="10893"/>
                  </a:cubicBezTo>
                  <a:cubicBezTo>
                    <a:pt x="381897" y="16945"/>
                    <a:pt x="383205" y="24207"/>
                    <a:pt x="383205" y="33890"/>
                  </a:cubicBezTo>
                  <a:cubicBezTo>
                    <a:pt x="383205" y="43573"/>
                    <a:pt x="381897" y="50835"/>
                    <a:pt x="377974" y="56887"/>
                  </a:cubicBezTo>
                  <a:cubicBezTo>
                    <a:pt x="374050" y="65359"/>
                    <a:pt x="366203" y="70201"/>
                    <a:pt x="355740" y="70201"/>
                  </a:cubicBezTo>
                  <a:cubicBezTo>
                    <a:pt x="345277" y="70201"/>
                    <a:pt x="338737" y="66570"/>
                    <a:pt x="334814" y="59308"/>
                  </a:cubicBezTo>
                  <a:cubicBezTo>
                    <a:pt x="330890" y="53256"/>
                    <a:pt x="329582" y="45994"/>
                    <a:pt x="329582" y="35101"/>
                  </a:cubicBezTo>
                  <a:cubicBezTo>
                    <a:pt x="329582" y="27838"/>
                    <a:pt x="329582" y="20576"/>
                    <a:pt x="332198" y="15735"/>
                  </a:cubicBezTo>
                  <a:cubicBezTo>
                    <a:pt x="336121" y="4842"/>
                    <a:pt x="343969" y="0"/>
                    <a:pt x="355740" y="0"/>
                  </a:cubicBezTo>
                  <a:close/>
                  <a:moveTo>
                    <a:pt x="295988" y="0"/>
                  </a:moveTo>
                  <a:cubicBezTo>
                    <a:pt x="306207" y="0"/>
                    <a:pt x="312595" y="3631"/>
                    <a:pt x="317705" y="10893"/>
                  </a:cubicBezTo>
                  <a:cubicBezTo>
                    <a:pt x="321537" y="16945"/>
                    <a:pt x="322815" y="24207"/>
                    <a:pt x="322815" y="33890"/>
                  </a:cubicBezTo>
                  <a:cubicBezTo>
                    <a:pt x="322815" y="43573"/>
                    <a:pt x="321537" y="50835"/>
                    <a:pt x="317705" y="56887"/>
                  </a:cubicBezTo>
                  <a:cubicBezTo>
                    <a:pt x="312595" y="65359"/>
                    <a:pt x="306207" y="70201"/>
                    <a:pt x="295988" y="70201"/>
                  </a:cubicBezTo>
                  <a:cubicBezTo>
                    <a:pt x="287046" y="70201"/>
                    <a:pt x="279381" y="66570"/>
                    <a:pt x="275548" y="59308"/>
                  </a:cubicBezTo>
                  <a:cubicBezTo>
                    <a:pt x="270438" y="53256"/>
                    <a:pt x="269161" y="45994"/>
                    <a:pt x="269161" y="35101"/>
                  </a:cubicBezTo>
                  <a:cubicBezTo>
                    <a:pt x="269161" y="27838"/>
                    <a:pt x="270438" y="20576"/>
                    <a:pt x="272993" y="15735"/>
                  </a:cubicBezTo>
                  <a:cubicBezTo>
                    <a:pt x="276826" y="4842"/>
                    <a:pt x="284491" y="0"/>
                    <a:pt x="295988" y="0"/>
                  </a:cubicBezTo>
                  <a:close/>
                  <a:moveTo>
                    <a:pt x="236201" y="0"/>
                  </a:moveTo>
                  <a:cubicBezTo>
                    <a:pt x="246664" y="0"/>
                    <a:pt x="253203" y="3631"/>
                    <a:pt x="258434" y="10893"/>
                  </a:cubicBezTo>
                  <a:cubicBezTo>
                    <a:pt x="261050" y="16945"/>
                    <a:pt x="262358" y="24207"/>
                    <a:pt x="262358" y="33890"/>
                  </a:cubicBezTo>
                  <a:cubicBezTo>
                    <a:pt x="262358" y="43573"/>
                    <a:pt x="261050" y="50835"/>
                    <a:pt x="259742" y="56887"/>
                  </a:cubicBezTo>
                  <a:cubicBezTo>
                    <a:pt x="254511" y="65359"/>
                    <a:pt x="246664" y="70201"/>
                    <a:pt x="236201" y="70201"/>
                  </a:cubicBezTo>
                  <a:cubicBezTo>
                    <a:pt x="225737" y="70201"/>
                    <a:pt x="219198" y="66570"/>
                    <a:pt x="215274" y="59308"/>
                  </a:cubicBezTo>
                  <a:cubicBezTo>
                    <a:pt x="211351" y="53256"/>
                    <a:pt x="208735" y="45994"/>
                    <a:pt x="208735" y="35101"/>
                  </a:cubicBezTo>
                  <a:cubicBezTo>
                    <a:pt x="208735" y="27838"/>
                    <a:pt x="210043" y="20576"/>
                    <a:pt x="212659" y="15735"/>
                  </a:cubicBezTo>
                  <a:cubicBezTo>
                    <a:pt x="216582" y="4842"/>
                    <a:pt x="224430" y="0"/>
                    <a:pt x="236201" y="0"/>
                  </a:cubicBezTo>
                  <a:close/>
                  <a:moveTo>
                    <a:pt x="147674" y="0"/>
                  </a:moveTo>
                  <a:cubicBezTo>
                    <a:pt x="156616" y="0"/>
                    <a:pt x="164281" y="3631"/>
                    <a:pt x="169391" y="10893"/>
                  </a:cubicBezTo>
                  <a:cubicBezTo>
                    <a:pt x="171946" y="16945"/>
                    <a:pt x="174501" y="24207"/>
                    <a:pt x="174501" y="33890"/>
                  </a:cubicBezTo>
                  <a:cubicBezTo>
                    <a:pt x="174501" y="43573"/>
                    <a:pt x="173223" y="50835"/>
                    <a:pt x="169391" y="56887"/>
                  </a:cubicBezTo>
                  <a:cubicBezTo>
                    <a:pt x="165558" y="65359"/>
                    <a:pt x="156616" y="70201"/>
                    <a:pt x="147674" y="70201"/>
                  </a:cubicBezTo>
                  <a:cubicBezTo>
                    <a:pt x="137454" y="70201"/>
                    <a:pt x="131067" y="66570"/>
                    <a:pt x="127234" y="59308"/>
                  </a:cubicBezTo>
                  <a:cubicBezTo>
                    <a:pt x="123402" y="53256"/>
                    <a:pt x="120847" y="45994"/>
                    <a:pt x="120847" y="35101"/>
                  </a:cubicBezTo>
                  <a:cubicBezTo>
                    <a:pt x="120847" y="27838"/>
                    <a:pt x="122124" y="20576"/>
                    <a:pt x="124679" y="15735"/>
                  </a:cubicBezTo>
                  <a:cubicBezTo>
                    <a:pt x="128512" y="4842"/>
                    <a:pt x="136177" y="0"/>
                    <a:pt x="147674" y="0"/>
                  </a:cubicBezTo>
                  <a:close/>
                  <a:moveTo>
                    <a:pt x="87252" y="0"/>
                  </a:moveTo>
                  <a:cubicBezTo>
                    <a:pt x="96194" y="0"/>
                    <a:pt x="103859" y="3631"/>
                    <a:pt x="107691" y="10893"/>
                  </a:cubicBezTo>
                  <a:cubicBezTo>
                    <a:pt x="111524" y="16945"/>
                    <a:pt x="114079" y="24207"/>
                    <a:pt x="114079" y="33890"/>
                  </a:cubicBezTo>
                  <a:cubicBezTo>
                    <a:pt x="114079" y="43573"/>
                    <a:pt x="111524" y="50835"/>
                    <a:pt x="108969" y="56887"/>
                  </a:cubicBezTo>
                  <a:cubicBezTo>
                    <a:pt x="103859" y="65359"/>
                    <a:pt x="97471" y="70201"/>
                    <a:pt x="87252" y="70201"/>
                  </a:cubicBezTo>
                  <a:cubicBezTo>
                    <a:pt x="77032" y="70201"/>
                    <a:pt x="70645" y="66570"/>
                    <a:pt x="65535" y="59308"/>
                  </a:cubicBezTo>
                  <a:cubicBezTo>
                    <a:pt x="61702" y="53256"/>
                    <a:pt x="60425" y="45994"/>
                    <a:pt x="60425" y="35101"/>
                  </a:cubicBezTo>
                  <a:cubicBezTo>
                    <a:pt x="60425" y="27838"/>
                    <a:pt x="61702" y="20576"/>
                    <a:pt x="62980" y="15735"/>
                  </a:cubicBezTo>
                  <a:cubicBezTo>
                    <a:pt x="68090" y="4842"/>
                    <a:pt x="75755" y="0"/>
                    <a:pt x="87252" y="0"/>
                  </a:cubicBezTo>
                  <a:close/>
                  <a:moveTo>
                    <a:pt x="26158" y="0"/>
                  </a:moveTo>
                  <a:cubicBezTo>
                    <a:pt x="37929" y="0"/>
                    <a:pt x="44468" y="3631"/>
                    <a:pt x="49699" y="10893"/>
                  </a:cubicBezTo>
                  <a:cubicBezTo>
                    <a:pt x="52315" y="16945"/>
                    <a:pt x="53623" y="24207"/>
                    <a:pt x="53623" y="33890"/>
                  </a:cubicBezTo>
                  <a:cubicBezTo>
                    <a:pt x="53623" y="43573"/>
                    <a:pt x="52315" y="50835"/>
                    <a:pt x="49699" y="56887"/>
                  </a:cubicBezTo>
                  <a:cubicBezTo>
                    <a:pt x="45776" y="65359"/>
                    <a:pt x="37929" y="70201"/>
                    <a:pt x="26158" y="70201"/>
                  </a:cubicBezTo>
                  <a:cubicBezTo>
                    <a:pt x="17002" y="70201"/>
                    <a:pt x="10463" y="66570"/>
                    <a:pt x="5232" y="59308"/>
                  </a:cubicBezTo>
                  <a:cubicBezTo>
                    <a:pt x="2616" y="53256"/>
                    <a:pt x="0" y="45994"/>
                    <a:pt x="0" y="35101"/>
                  </a:cubicBezTo>
                  <a:cubicBezTo>
                    <a:pt x="0" y="27838"/>
                    <a:pt x="1308" y="20576"/>
                    <a:pt x="3924" y="15735"/>
                  </a:cubicBezTo>
                  <a:cubicBezTo>
                    <a:pt x="7847" y="4842"/>
                    <a:pt x="15695" y="0"/>
                    <a:pt x="261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7" name="Freeform 47">
              <a:extLst>
                <a:ext uri="{FF2B5EF4-FFF2-40B4-BE49-F238E27FC236}">
                  <a16:creationId xmlns:a16="http://schemas.microsoft.com/office/drawing/2014/main" id="{19AC443B-5D71-68A5-D960-8FD4F3DB71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6031" y="7717656"/>
              <a:ext cx="200600" cy="79402"/>
            </a:xfrm>
            <a:custGeom>
              <a:avLst/>
              <a:gdLst>
                <a:gd name="connsiteX0" fmla="*/ 152812 w 191040"/>
                <a:gd name="connsiteY0" fmla="*/ 41555 h 75618"/>
                <a:gd name="connsiteX1" fmla="*/ 147818 w 191040"/>
                <a:gd name="connsiteY1" fmla="*/ 43944 h 75618"/>
                <a:gd name="connsiteX2" fmla="*/ 142825 w 191040"/>
                <a:gd name="connsiteY2" fmla="*/ 45138 h 75618"/>
                <a:gd name="connsiteX3" fmla="*/ 137831 w 191040"/>
                <a:gd name="connsiteY3" fmla="*/ 45138 h 75618"/>
                <a:gd name="connsiteX4" fmla="*/ 129092 w 191040"/>
                <a:gd name="connsiteY4" fmla="*/ 47526 h 75618"/>
                <a:gd name="connsiteX5" fmla="*/ 125346 w 191040"/>
                <a:gd name="connsiteY5" fmla="*/ 54691 h 75618"/>
                <a:gd name="connsiteX6" fmla="*/ 129092 w 191040"/>
                <a:gd name="connsiteY6" fmla="*/ 60662 h 75618"/>
                <a:gd name="connsiteX7" fmla="*/ 135334 w 191040"/>
                <a:gd name="connsiteY7" fmla="*/ 63050 h 75618"/>
                <a:gd name="connsiteX8" fmla="*/ 145321 w 191040"/>
                <a:gd name="connsiteY8" fmla="*/ 60662 h 75618"/>
                <a:gd name="connsiteX9" fmla="*/ 152812 w 191040"/>
                <a:gd name="connsiteY9" fmla="*/ 49915 h 75618"/>
                <a:gd name="connsiteX10" fmla="*/ 140328 w 191040"/>
                <a:gd name="connsiteY10" fmla="*/ 16478 h 75618"/>
                <a:gd name="connsiteX11" fmla="*/ 156557 w 191040"/>
                <a:gd name="connsiteY11" fmla="*/ 18867 h 75618"/>
                <a:gd name="connsiteX12" fmla="*/ 161551 w 191040"/>
                <a:gd name="connsiteY12" fmla="*/ 30808 h 75618"/>
                <a:gd name="connsiteX13" fmla="*/ 161551 w 191040"/>
                <a:gd name="connsiteY13" fmla="*/ 58274 h 75618"/>
                <a:gd name="connsiteX14" fmla="*/ 162799 w 191040"/>
                <a:gd name="connsiteY14" fmla="*/ 60662 h 75618"/>
                <a:gd name="connsiteX15" fmla="*/ 165296 w 191040"/>
                <a:gd name="connsiteY15" fmla="*/ 61856 h 75618"/>
                <a:gd name="connsiteX16" fmla="*/ 166545 w 191040"/>
                <a:gd name="connsiteY16" fmla="*/ 61856 h 75618"/>
                <a:gd name="connsiteX17" fmla="*/ 169042 w 191040"/>
                <a:gd name="connsiteY17" fmla="*/ 61856 h 75618"/>
                <a:gd name="connsiteX18" fmla="*/ 169042 w 191040"/>
                <a:gd name="connsiteY18" fmla="*/ 67827 h 75618"/>
                <a:gd name="connsiteX19" fmla="*/ 165296 w 191040"/>
                <a:gd name="connsiteY19" fmla="*/ 69021 h 75618"/>
                <a:gd name="connsiteX20" fmla="*/ 161551 w 191040"/>
                <a:gd name="connsiteY20" fmla="*/ 69021 h 75618"/>
                <a:gd name="connsiteX21" fmla="*/ 155309 w 191040"/>
                <a:gd name="connsiteY21" fmla="*/ 65438 h 75618"/>
                <a:gd name="connsiteX22" fmla="*/ 154060 w 191040"/>
                <a:gd name="connsiteY22" fmla="*/ 60662 h 75618"/>
                <a:gd name="connsiteX23" fmla="*/ 145321 w 191040"/>
                <a:gd name="connsiteY23" fmla="*/ 66633 h 75618"/>
                <a:gd name="connsiteX24" fmla="*/ 132837 w 191040"/>
                <a:gd name="connsiteY24" fmla="*/ 70215 h 75618"/>
                <a:gd name="connsiteX25" fmla="*/ 120353 w 191040"/>
                <a:gd name="connsiteY25" fmla="*/ 65438 h 75618"/>
                <a:gd name="connsiteX26" fmla="*/ 115359 w 191040"/>
                <a:gd name="connsiteY26" fmla="*/ 54691 h 75618"/>
                <a:gd name="connsiteX27" fmla="*/ 120353 w 191040"/>
                <a:gd name="connsiteY27" fmla="*/ 43944 h 75618"/>
                <a:gd name="connsiteX28" fmla="*/ 132837 w 191040"/>
                <a:gd name="connsiteY28" fmla="*/ 39167 h 75618"/>
                <a:gd name="connsiteX29" fmla="*/ 147818 w 191040"/>
                <a:gd name="connsiteY29" fmla="*/ 36779 h 75618"/>
                <a:gd name="connsiteX30" fmla="*/ 152812 w 191040"/>
                <a:gd name="connsiteY30" fmla="*/ 34391 h 75618"/>
                <a:gd name="connsiteX31" fmla="*/ 152812 w 191040"/>
                <a:gd name="connsiteY31" fmla="*/ 32002 h 75618"/>
                <a:gd name="connsiteX32" fmla="*/ 150315 w 191040"/>
                <a:gd name="connsiteY32" fmla="*/ 24837 h 75618"/>
                <a:gd name="connsiteX33" fmla="*/ 140328 w 191040"/>
                <a:gd name="connsiteY33" fmla="*/ 23643 h 75618"/>
                <a:gd name="connsiteX34" fmla="*/ 129092 w 191040"/>
                <a:gd name="connsiteY34" fmla="*/ 26031 h 75618"/>
                <a:gd name="connsiteX35" fmla="*/ 126595 w 191040"/>
                <a:gd name="connsiteY35" fmla="*/ 32002 h 75618"/>
                <a:gd name="connsiteX36" fmla="*/ 117856 w 191040"/>
                <a:gd name="connsiteY36" fmla="*/ 32002 h 75618"/>
                <a:gd name="connsiteX37" fmla="*/ 124098 w 191040"/>
                <a:gd name="connsiteY37" fmla="*/ 20061 h 75618"/>
                <a:gd name="connsiteX38" fmla="*/ 140328 w 191040"/>
                <a:gd name="connsiteY38" fmla="*/ 16478 h 75618"/>
                <a:gd name="connsiteX39" fmla="*/ 24086 w 191040"/>
                <a:gd name="connsiteY39" fmla="*/ 16478 h 75618"/>
                <a:gd name="connsiteX40" fmla="*/ 43101 w 191040"/>
                <a:gd name="connsiteY40" fmla="*/ 25478 h 75618"/>
                <a:gd name="connsiteX41" fmla="*/ 45636 w 191040"/>
                <a:gd name="connsiteY41" fmla="*/ 34477 h 75618"/>
                <a:gd name="connsiteX42" fmla="*/ 36762 w 191040"/>
                <a:gd name="connsiteY42" fmla="*/ 34477 h 75618"/>
                <a:gd name="connsiteX43" fmla="*/ 34227 w 191040"/>
                <a:gd name="connsiteY43" fmla="*/ 28049 h 75618"/>
                <a:gd name="connsiteX44" fmla="*/ 22818 w 191040"/>
                <a:gd name="connsiteY44" fmla="*/ 25478 h 75618"/>
                <a:gd name="connsiteX45" fmla="*/ 13944 w 191040"/>
                <a:gd name="connsiteY45" fmla="*/ 26763 h 75618"/>
                <a:gd name="connsiteX46" fmla="*/ 11409 w 191040"/>
                <a:gd name="connsiteY46" fmla="*/ 33192 h 75618"/>
                <a:gd name="connsiteX47" fmla="*/ 15212 w 191040"/>
                <a:gd name="connsiteY47" fmla="*/ 38334 h 75618"/>
                <a:gd name="connsiteX48" fmla="*/ 21550 w 191040"/>
                <a:gd name="connsiteY48" fmla="*/ 40905 h 75618"/>
                <a:gd name="connsiteX49" fmla="*/ 27889 w 191040"/>
                <a:gd name="connsiteY49" fmla="*/ 40905 h 75618"/>
                <a:gd name="connsiteX50" fmla="*/ 43101 w 191040"/>
                <a:gd name="connsiteY50" fmla="*/ 46048 h 75618"/>
                <a:gd name="connsiteX51" fmla="*/ 48171 w 191040"/>
                <a:gd name="connsiteY51" fmla="*/ 56333 h 75618"/>
                <a:gd name="connsiteX52" fmla="*/ 43101 w 191040"/>
                <a:gd name="connsiteY52" fmla="*/ 69189 h 75618"/>
                <a:gd name="connsiteX53" fmla="*/ 24086 w 191040"/>
                <a:gd name="connsiteY53" fmla="*/ 75618 h 75618"/>
                <a:gd name="connsiteX54" fmla="*/ 6338 w 191040"/>
                <a:gd name="connsiteY54" fmla="*/ 69189 h 75618"/>
                <a:gd name="connsiteX55" fmla="*/ 0 w 191040"/>
                <a:gd name="connsiteY55" fmla="*/ 56333 h 75618"/>
                <a:gd name="connsiteX56" fmla="*/ 8874 w 191040"/>
                <a:gd name="connsiteY56" fmla="*/ 56333 h 75618"/>
                <a:gd name="connsiteX57" fmla="*/ 11409 w 191040"/>
                <a:gd name="connsiteY57" fmla="*/ 62761 h 75618"/>
                <a:gd name="connsiteX58" fmla="*/ 24086 w 191040"/>
                <a:gd name="connsiteY58" fmla="*/ 67904 h 75618"/>
                <a:gd name="connsiteX59" fmla="*/ 34227 w 191040"/>
                <a:gd name="connsiteY59" fmla="*/ 65333 h 75618"/>
                <a:gd name="connsiteX60" fmla="*/ 38030 w 191040"/>
                <a:gd name="connsiteY60" fmla="*/ 58904 h 75618"/>
                <a:gd name="connsiteX61" fmla="*/ 35495 w 191040"/>
                <a:gd name="connsiteY61" fmla="*/ 53762 h 75618"/>
                <a:gd name="connsiteX62" fmla="*/ 26621 w 191040"/>
                <a:gd name="connsiteY62" fmla="*/ 51190 h 75618"/>
                <a:gd name="connsiteX63" fmla="*/ 19015 w 191040"/>
                <a:gd name="connsiteY63" fmla="*/ 48619 h 75618"/>
                <a:gd name="connsiteX64" fmla="*/ 7606 w 191040"/>
                <a:gd name="connsiteY64" fmla="*/ 44762 h 75618"/>
                <a:gd name="connsiteX65" fmla="*/ 1268 w 191040"/>
                <a:gd name="connsiteY65" fmla="*/ 34477 h 75618"/>
                <a:gd name="connsiteX66" fmla="*/ 7606 w 191040"/>
                <a:gd name="connsiteY66" fmla="*/ 21621 h 75618"/>
                <a:gd name="connsiteX67" fmla="*/ 24086 w 191040"/>
                <a:gd name="connsiteY67" fmla="*/ 16478 h 75618"/>
                <a:gd name="connsiteX68" fmla="*/ 181275 w 191040"/>
                <a:gd name="connsiteY68" fmla="*/ 0 h 75618"/>
                <a:gd name="connsiteX69" fmla="*/ 191040 w 191040"/>
                <a:gd name="connsiteY69" fmla="*/ 0 h 75618"/>
                <a:gd name="connsiteX70" fmla="*/ 191040 w 191040"/>
                <a:gd name="connsiteY70" fmla="*/ 70198 h 75618"/>
                <a:gd name="connsiteX71" fmla="*/ 181275 w 191040"/>
                <a:gd name="connsiteY71" fmla="*/ 70198 h 75618"/>
                <a:gd name="connsiteX72" fmla="*/ 60428 w 191040"/>
                <a:gd name="connsiteY72" fmla="*/ 0 h 75618"/>
                <a:gd name="connsiteX73" fmla="*/ 69535 w 191040"/>
                <a:gd name="connsiteY73" fmla="*/ 0 h 75618"/>
                <a:gd name="connsiteX74" fmla="*/ 69535 w 191040"/>
                <a:gd name="connsiteY74" fmla="*/ 26627 h 75618"/>
                <a:gd name="connsiteX75" fmla="*/ 76039 w 191040"/>
                <a:gd name="connsiteY75" fmla="*/ 20575 h 75618"/>
                <a:gd name="connsiteX76" fmla="*/ 89049 w 191040"/>
                <a:gd name="connsiteY76" fmla="*/ 18155 h 75618"/>
                <a:gd name="connsiteX77" fmla="*/ 105961 w 191040"/>
                <a:gd name="connsiteY77" fmla="*/ 25417 h 75618"/>
                <a:gd name="connsiteX78" fmla="*/ 108563 w 191040"/>
                <a:gd name="connsiteY78" fmla="*/ 37520 h 75618"/>
                <a:gd name="connsiteX79" fmla="*/ 108563 w 191040"/>
                <a:gd name="connsiteY79" fmla="*/ 70198 h 75618"/>
                <a:gd name="connsiteX80" fmla="*/ 98155 w 191040"/>
                <a:gd name="connsiteY80" fmla="*/ 70198 h 75618"/>
                <a:gd name="connsiteX81" fmla="*/ 98155 w 191040"/>
                <a:gd name="connsiteY81" fmla="*/ 38730 h 75618"/>
                <a:gd name="connsiteX82" fmla="*/ 96855 w 191040"/>
                <a:gd name="connsiteY82" fmla="*/ 30258 h 75618"/>
                <a:gd name="connsiteX83" fmla="*/ 86447 w 191040"/>
                <a:gd name="connsiteY83" fmla="*/ 25417 h 75618"/>
                <a:gd name="connsiteX84" fmla="*/ 74738 w 191040"/>
                <a:gd name="connsiteY84" fmla="*/ 29048 h 75618"/>
                <a:gd name="connsiteX85" fmla="*/ 69535 w 191040"/>
                <a:gd name="connsiteY85" fmla="*/ 43571 h 75618"/>
                <a:gd name="connsiteX86" fmla="*/ 69535 w 191040"/>
                <a:gd name="connsiteY86" fmla="*/ 70198 h 75618"/>
                <a:gd name="connsiteX87" fmla="*/ 60428 w 191040"/>
                <a:gd name="connsiteY87" fmla="*/ 70198 h 75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91040" h="75618">
                  <a:moveTo>
                    <a:pt x="152812" y="41555"/>
                  </a:moveTo>
                  <a:cubicBezTo>
                    <a:pt x="151564" y="42750"/>
                    <a:pt x="150315" y="43944"/>
                    <a:pt x="147818" y="43944"/>
                  </a:cubicBezTo>
                  <a:cubicBezTo>
                    <a:pt x="146570" y="43944"/>
                    <a:pt x="144073" y="43944"/>
                    <a:pt x="142825" y="45138"/>
                  </a:cubicBezTo>
                  <a:lnTo>
                    <a:pt x="137831" y="45138"/>
                  </a:lnTo>
                  <a:cubicBezTo>
                    <a:pt x="134085" y="45138"/>
                    <a:pt x="131589" y="46332"/>
                    <a:pt x="129092" y="47526"/>
                  </a:cubicBezTo>
                  <a:cubicBezTo>
                    <a:pt x="126595" y="48720"/>
                    <a:pt x="125346" y="51109"/>
                    <a:pt x="125346" y="54691"/>
                  </a:cubicBezTo>
                  <a:cubicBezTo>
                    <a:pt x="125346" y="57079"/>
                    <a:pt x="126595" y="58274"/>
                    <a:pt x="129092" y="60662"/>
                  </a:cubicBezTo>
                  <a:cubicBezTo>
                    <a:pt x="130340" y="61856"/>
                    <a:pt x="131589" y="63050"/>
                    <a:pt x="135334" y="63050"/>
                  </a:cubicBezTo>
                  <a:cubicBezTo>
                    <a:pt x="137831" y="63050"/>
                    <a:pt x="142825" y="61856"/>
                    <a:pt x="145321" y="60662"/>
                  </a:cubicBezTo>
                  <a:cubicBezTo>
                    <a:pt x="150315" y="58274"/>
                    <a:pt x="152812" y="54691"/>
                    <a:pt x="152812" y="49915"/>
                  </a:cubicBezTo>
                  <a:close/>
                  <a:moveTo>
                    <a:pt x="140328" y="16478"/>
                  </a:moveTo>
                  <a:cubicBezTo>
                    <a:pt x="146570" y="16478"/>
                    <a:pt x="151564" y="17672"/>
                    <a:pt x="156557" y="18867"/>
                  </a:cubicBezTo>
                  <a:cubicBezTo>
                    <a:pt x="160303" y="21255"/>
                    <a:pt x="161551" y="24837"/>
                    <a:pt x="161551" y="30808"/>
                  </a:cubicBezTo>
                  <a:lnTo>
                    <a:pt x="161551" y="58274"/>
                  </a:lnTo>
                  <a:cubicBezTo>
                    <a:pt x="161551" y="60662"/>
                    <a:pt x="162799" y="60662"/>
                    <a:pt x="162799" y="60662"/>
                  </a:cubicBezTo>
                  <a:cubicBezTo>
                    <a:pt x="164048" y="61856"/>
                    <a:pt x="164048" y="61856"/>
                    <a:pt x="165296" y="61856"/>
                  </a:cubicBezTo>
                  <a:lnTo>
                    <a:pt x="166545" y="61856"/>
                  </a:lnTo>
                  <a:cubicBezTo>
                    <a:pt x="167793" y="61856"/>
                    <a:pt x="167793" y="61856"/>
                    <a:pt x="169042" y="61856"/>
                  </a:cubicBezTo>
                  <a:lnTo>
                    <a:pt x="169042" y="67827"/>
                  </a:lnTo>
                  <a:cubicBezTo>
                    <a:pt x="167793" y="67827"/>
                    <a:pt x="165296" y="67827"/>
                    <a:pt x="165296" y="69021"/>
                  </a:cubicBezTo>
                  <a:cubicBezTo>
                    <a:pt x="164048" y="69021"/>
                    <a:pt x="164048" y="69021"/>
                    <a:pt x="161551" y="69021"/>
                  </a:cubicBezTo>
                  <a:cubicBezTo>
                    <a:pt x="159054" y="69021"/>
                    <a:pt x="156557" y="67827"/>
                    <a:pt x="155309" y="65438"/>
                  </a:cubicBezTo>
                  <a:cubicBezTo>
                    <a:pt x="154060" y="64244"/>
                    <a:pt x="154060" y="63050"/>
                    <a:pt x="154060" y="60662"/>
                  </a:cubicBezTo>
                  <a:cubicBezTo>
                    <a:pt x="151564" y="63050"/>
                    <a:pt x="147818" y="65438"/>
                    <a:pt x="145321" y="66633"/>
                  </a:cubicBezTo>
                  <a:cubicBezTo>
                    <a:pt x="141576" y="67827"/>
                    <a:pt x="137831" y="70215"/>
                    <a:pt x="132837" y="70215"/>
                  </a:cubicBezTo>
                  <a:cubicBezTo>
                    <a:pt x="127843" y="70215"/>
                    <a:pt x="124098" y="67827"/>
                    <a:pt x="120353" y="65438"/>
                  </a:cubicBezTo>
                  <a:cubicBezTo>
                    <a:pt x="116607" y="63050"/>
                    <a:pt x="115359" y="58274"/>
                    <a:pt x="115359" y="54691"/>
                  </a:cubicBezTo>
                  <a:cubicBezTo>
                    <a:pt x="115359" y="49915"/>
                    <a:pt x="116607" y="46332"/>
                    <a:pt x="120353" y="43944"/>
                  </a:cubicBezTo>
                  <a:cubicBezTo>
                    <a:pt x="122850" y="41555"/>
                    <a:pt x="127843" y="39167"/>
                    <a:pt x="132837" y="39167"/>
                  </a:cubicBezTo>
                  <a:lnTo>
                    <a:pt x="147818" y="36779"/>
                  </a:lnTo>
                  <a:cubicBezTo>
                    <a:pt x="150315" y="36779"/>
                    <a:pt x="151564" y="36779"/>
                    <a:pt x="152812" y="34391"/>
                  </a:cubicBezTo>
                  <a:cubicBezTo>
                    <a:pt x="152812" y="34391"/>
                    <a:pt x="152812" y="33196"/>
                    <a:pt x="152812" y="32002"/>
                  </a:cubicBezTo>
                  <a:cubicBezTo>
                    <a:pt x="152812" y="28420"/>
                    <a:pt x="151564" y="26031"/>
                    <a:pt x="150315" y="24837"/>
                  </a:cubicBezTo>
                  <a:cubicBezTo>
                    <a:pt x="147818" y="23643"/>
                    <a:pt x="144073" y="23643"/>
                    <a:pt x="140328" y="23643"/>
                  </a:cubicBezTo>
                  <a:cubicBezTo>
                    <a:pt x="134085" y="23643"/>
                    <a:pt x="131589" y="24837"/>
                    <a:pt x="129092" y="26031"/>
                  </a:cubicBezTo>
                  <a:cubicBezTo>
                    <a:pt x="129092" y="28420"/>
                    <a:pt x="127843" y="30808"/>
                    <a:pt x="126595" y="32002"/>
                  </a:cubicBezTo>
                  <a:lnTo>
                    <a:pt x="117856" y="32002"/>
                  </a:lnTo>
                  <a:cubicBezTo>
                    <a:pt x="117856" y="26031"/>
                    <a:pt x="120353" y="22449"/>
                    <a:pt x="124098" y="20061"/>
                  </a:cubicBezTo>
                  <a:cubicBezTo>
                    <a:pt x="129092" y="17672"/>
                    <a:pt x="134085" y="16478"/>
                    <a:pt x="140328" y="16478"/>
                  </a:cubicBezTo>
                  <a:close/>
                  <a:moveTo>
                    <a:pt x="24086" y="16478"/>
                  </a:moveTo>
                  <a:cubicBezTo>
                    <a:pt x="31692" y="16478"/>
                    <a:pt x="38030" y="19050"/>
                    <a:pt x="43101" y="25478"/>
                  </a:cubicBezTo>
                  <a:cubicBezTo>
                    <a:pt x="44368" y="26763"/>
                    <a:pt x="45636" y="30620"/>
                    <a:pt x="45636" y="34477"/>
                  </a:cubicBezTo>
                  <a:lnTo>
                    <a:pt x="36762" y="34477"/>
                  </a:lnTo>
                  <a:cubicBezTo>
                    <a:pt x="36762" y="31906"/>
                    <a:pt x="36762" y="30620"/>
                    <a:pt x="34227" y="28049"/>
                  </a:cubicBezTo>
                  <a:cubicBezTo>
                    <a:pt x="31692" y="26763"/>
                    <a:pt x="27889" y="25478"/>
                    <a:pt x="22818" y="25478"/>
                  </a:cubicBezTo>
                  <a:cubicBezTo>
                    <a:pt x="19015" y="25478"/>
                    <a:pt x="16480" y="25478"/>
                    <a:pt x="13944" y="26763"/>
                  </a:cubicBezTo>
                  <a:cubicBezTo>
                    <a:pt x="12677" y="28049"/>
                    <a:pt x="11409" y="30620"/>
                    <a:pt x="11409" y="33192"/>
                  </a:cubicBezTo>
                  <a:cubicBezTo>
                    <a:pt x="11409" y="34477"/>
                    <a:pt x="12677" y="37048"/>
                    <a:pt x="15212" y="38334"/>
                  </a:cubicBezTo>
                  <a:cubicBezTo>
                    <a:pt x="16480" y="39620"/>
                    <a:pt x="19015" y="39620"/>
                    <a:pt x="21550" y="40905"/>
                  </a:cubicBezTo>
                  <a:lnTo>
                    <a:pt x="27889" y="40905"/>
                  </a:lnTo>
                  <a:cubicBezTo>
                    <a:pt x="35495" y="42191"/>
                    <a:pt x="39298" y="44762"/>
                    <a:pt x="43101" y="46048"/>
                  </a:cubicBezTo>
                  <a:cubicBezTo>
                    <a:pt x="45636" y="48619"/>
                    <a:pt x="48171" y="52476"/>
                    <a:pt x="48171" y="56333"/>
                  </a:cubicBezTo>
                  <a:cubicBezTo>
                    <a:pt x="48171" y="61476"/>
                    <a:pt x="45636" y="66618"/>
                    <a:pt x="43101" y="69189"/>
                  </a:cubicBezTo>
                  <a:cubicBezTo>
                    <a:pt x="38030" y="73046"/>
                    <a:pt x="31692" y="75618"/>
                    <a:pt x="24086" y="75618"/>
                  </a:cubicBezTo>
                  <a:cubicBezTo>
                    <a:pt x="15212" y="75618"/>
                    <a:pt x="8874" y="73046"/>
                    <a:pt x="6338" y="69189"/>
                  </a:cubicBezTo>
                  <a:cubicBezTo>
                    <a:pt x="1268" y="65333"/>
                    <a:pt x="0" y="61476"/>
                    <a:pt x="0" y="56333"/>
                  </a:cubicBezTo>
                  <a:lnTo>
                    <a:pt x="8874" y="56333"/>
                  </a:lnTo>
                  <a:cubicBezTo>
                    <a:pt x="10141" y="58904"/>
                    <a:pt x="10141" y="61476"/>
                    <a:pt x="11409" y="62761"/>
                  </a:cubicBezTo>
                  <a:cubicBezTo>
                    <a:pt x="13944" y="65333"/>
                    <a:pt x="17747" y="67904"/>
                    <a:pt x="24086" y="67904"/>
                  </a:cubicBezTo>
                  <a:cubicBezTo>
                    <a:pt x="27889" y="67904"/>
                    <a:pt x="31692" y="66618"/>
                    <a:pt x="34227" y="65333"/>
                  </a:cubicBezTo>
                  <a:cubicBezTo>
                    <a:pt x="36762" y="62761"/>
                    <a:pt x="38030" y="61476"/>
                    <a:pt x="38030" y="58904"/>
                  </a:cubicBezTo>
                  <a:cubicBezTo>
                    <a:pt x="38030" y="56333"/>
                    <a:pt x="36762" y="53762"/>
                    <a:pt x="35495" y="53762"/>
                  </a:cubicBezTo>
                  <a:cubicBezTo>
                    <a:pt x="34227" y="52476"/>
                    <a:pt x="30424" y="51190"/>
                    <a:pt x="26621" y="51190"/>
                  </a:cubicBezTo>
                  <a:lnTo>
                    <a:pt x="19015" y="48619"/>
                  </a:lnTo>
                  <a:cubicBezTo>
                    <a:pt x="13944" y="47334"/>
                    <a:pt x="10141" y="46048"/>
                    <a:pt x="7606" y="44762"/>
                  </a:cubicBezTo>
                  <a:cubicBezTo>
                    <a:pt x="3803" y="42191"/>
                    <a:pt x="1268" y="39620"/>
                    <a:pt x="1268" y="34477"/>
                  </a:cubicBezTo>
                  <a:cubicBezTo>
                    <a:pt x="1268" y="29335"/>
                    <a:pt x="3803" y="25478"/>
                    <a:pt x="7606" y="21621"/>
                  </a:cubicBezTo>
                  <a:cubicBezTo>
                    <a:pt x="11409" y="19050"/>
                    <a:pt x="16480" y="16478"/>
                    <a:pt x="24086" y="16478"/>
                  </a:cubicBezTo>
                  <a:close/>
                  <a:moveTo>
                    <a:pt x="181275" y="0"/>
                  </a:moveTo>
                  <a:lnTo>
                    <a:pt x="191040" y="0"/>
                  </a:lnTo>
                  <a:lnTo>
                    <a:pt x="191040" y="70198"/>
                  </a:lnTo>
                  <a:lnTo>
                    <a:pt x="181275" y="70198"/>
                  </a:lnTo>
                  <a:close/>
                  <a:moveTo>
                    <a:pt x="60428" y="0"/>
                  </a:moveTo>
                  <a:lnTo>
                    <a:pt x="69535" y="0"/>
                  </a:lnTo>
                  <a:lnTo>
                    <a:pt x="69535" y="26627"/>
                  </a:lnTo>
                  <a:cubicBezTo>
                    <a:pt x="72137" y="22996"/>
                    <a:pt x="74738" y="21786"/>
                    <a:pt x="76039" y="20575"/>
                  </a:cubicBezTo>
                  <a:cubicBezTo>
                    <a:pt x="79942" y="19365"/>
                    <a:pt x="83845" y="18155"/>
                    <a:pt x="89049" y="18155"/>
                  </a:cubicBezTo>
                  <a:cubicBezTo>
                    <a:pt x="96855" y="18155"/>
                    <a:pt x="103359" y="20575"/>
                    <a:pt x="105961" y="25417"/>
                  </a:cubicBezTo>
                  <a:cubicBezTo>
                    <a:pt x="107262" y="27837"/>
                    <a:pt x="108563" y="32678"/>
                    <a:pt x="108563" y="37520"/>
                  </a:cubicBezTo>
                  <a:lnTo>
                    <a:pt x="108563" y="70198"/>
                  </a:lnTo>
                  <a:lnTo>
                    <a:pt x="98155" y="70198"/>
                  </a:lnTo>
                  <a:lnTo>
                    <a:pt x="98155" y="38730"/>
                  </a:lnTo>
                  <a:cubicBezTo>
                    <a:pt x="98155" y="33889"/>
                    <a:pt x="96855" y="31468"/>
                    <a:pt x="96855" y="30258"/>
                  </a:cubicBezTo>
                  <a:cubicBezTo>
                    <a:pt x="95554" y="26627"/>
                    <a:pt x="90350" y="25417"/>
                    <a:pt x="86447" y="25417"/>
                  </a:cubicBezTo>
                  <a:cubicBezTo>
                    <a:pt x="82544" y="25417"/>
                    <a:pt x="78641" y="26627"/>
                    <a:pt x="74738" y="29048"/>
                  </a:cubicBezTo>
                  <a:cubicBezTo>
                    <a:pt x="72137" y="31468"/>
                    <a:pt x="69535" y="36309"/>
                    <a:pt x="69535" y="43571"/>
                  </a:cubicBezTo>
                  <a:lnTo>
                    <a:pt x="69535" y="70198"/>
                  </a:lnTo>
                  <a:lnTo>
                    <a:pt x="60428" y="701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8" name="Freeform 103">
              <a:extLst>
                <a:ext uri="{FF2B5EF4-FFF2-40B4-BE49-F238E27FC236}">
                  <a16:creationId xmlns:a16="http://schemas.microsoft.com/office/drawing/2014/main" id="{8F24833C-0B23-479F-B117-ADC97D3CA7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62755" y="6627515"/>
              <a:ext cx="69214" cy="1390069"/>
            </a:xfrm>
            <a:custGeom>
              <a:avLst/>
              <a:gdLst>
                <a:gd name="T0" fmla="*/ 34 w 54"/>
                <a:gd name="T1" fmla="*/ 1 h 1063"/>
                <a:gd name="T2" fmla="*/ 0 w 54"/>
                <a:gd name="T3" fmla="*/ 2 h 1063"/>
                <a:gd name="T4" fmla="*/ 0 w 54"/>
                <a:gd name="T5" fmla="*/ 1060 h 1063"/>
                <a:gd name="T6" fmla="*/ 34 w 54"/>
                <a:gd name="T7" fmla="*/ 1061 h 1063"/>
                <a:gd name="T8" fmla="*/ 34 w 54"/>
                <a:gd name="T9" fmla="*/ 1061 h 1063"/>
                <a:gd name="T10" fmla="*/ 53 w 54"/>
                <a:gd name="T11" fmla="*/ 1043 h 1063"/>
                <a:gd name="T12" fmla="*/ 53 w 54"/>
                <a:gd name="T13" fmla="*/ 18 h 1063"/>
                <a:gd name="T14" fmla="*/ 53 w 54"/>
                <a:gd name="T15" fmla="*/ 18 h 1063"/>
                <a:gd name="T16" fmla="*/ 34 w 54"/>
                <a:gd name="T17" fmla="*/ 1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063">
                  <a:moveTo>
                    <a:pt x="34" y="1"/>
                  </a:moveTo>
                  <a:lnTo>
                    <a:pt x="0" y="2"/>
                  </a:lnTo>
                  <a:lnTo>
                    <a:pt x="0" y="1060"/>
                  </a:lnTo>
                  <a:lnTo>
                    <a:pt x="34" y="1061"/>
                  </a:lnTo>
                  <a:lnTo>
                    <a:pt x="34" y="1061"/>
                  </a:lnTo>
                  <a:cubicBezTo>
                    <a:pt x="44" y="1062"/>
                    <a:pt x="53" y="1054"/>
                    <a:pt x="53" y="1043"/>
                  </a:cubicBezTo>
                  <a:lnTo>
                    <a:pt x="53" y="18"/>
                  </a:lnTo>
                  <a:lnTo>
                    <a:pt x="53" y="18"/>
                  </a:lnTo>
                  <a:cubicBezTo>
                    <a:pt x="53" y="8"/>
                    <a:pt x="44" y="0"/>
                    <a:pt x="34" y="1"/>
                  </a:cubicBezTo>
                </a:path>
              </a:pathLst>
            </a:custGeom>
            <a:solidFill>
              <a:srgbClr val="050E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09" name="Freeform 104">
              <a:extLst>
                <a:ext uri="{FF2B5EF4-FFF2-40B4-BE49-F238E27FC236}">
                  <a16:creationId xmlns:a16="http://schemas.microsoft.com/office/drawing/2014/main" id="{69B061E8-7C35-DEFC-24DD-1E20465B08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98419" y="7683045"/>
              <a:ext cx="2070680" cy="1868805"/>
            </a:xfrm>
            <a:custGeom>
              <a:avLst/>
              <a:gdLst>
                <a:gd name="T0" fmla="*/ 1584 w 1585"/>
                <a:gd name="T1" fmla="*/ 1428 h 1429"/>
                <a:gd name="T2" fmla="*/ 0 w 1585"/>
                <a:gd name="T3" fmla="*/ 1267 h 1429"/>
                <a:gd name="T4" fmla="*/ 747 w 1585"/>
                <a:gd name="T5" fmla="*/ 0 h 1429"/>
                <a:gd name="T6" fmla="*/ 1584 w 1585"/>
                <a:gd name="T7" fmla="*/ 1428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5" h="1429">
                  <a:moveTo>
                    <a:pt x="1584" y="1428"/>
                  </a:moveTo>
                  <a:lnTo>
                    <a:pt x="0" y="1267"/>
                  </a:lnTo>
                  <a:lnTo>
                    <a:pt x="747" y="0"/>
                  </a:lnTo>
                  <a:lnTo>
                    <a:pt x="1584" y="142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0" name="Freeform 105">
              <a:extLst>
                <a:ext uri="{FF2B5EF4-FFF2-40B4-BE49-F238E27FC236}">
                  <a16:creationId xmlns:a16="http://schemas.microsoft.com/office/drawing/2014/main" id="{3EA80088-2DB5-5E91-FE68-9B6A114C1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40741" y="7625371"/>
              <a:ext cx="2209110" cy="1995699"/>
            </a:xfrm>
            <a:custGeom>
              <a:avLst/>
              <a:gdLst>
                <a:gd name="T0" fmla="*/ 792 w 1688"/>
                <a:gd name="T1" fmla="*/ 0 h 1525"/>
                <a:gd name="T2" fmla="*/ 0 w 1688"/>
                <a:gd name="T3" fmla="*/ 1348 h 1525"/>
                <a:gd name="T4" fmla="*/ 1687 w 1688"/>
                <a:gd name="T5" fmla="*/ 1524 h 1525"/>
                <a:gd name="T6" fmla="*/ 792 w 1688"/>
                <a:gd name="T7" fmla="*/ 0 h 1525"/>
                <a:gd name="T8" fmla="*/ 792 w 1688"/>
                <a:gd name="T9" fmla="*/ 202 h 1525"/>
                <a:gd name="T10" fmla="*/ 1484 w 1688"/>
                <a:gd name="T11" fmla="*/ 1392 h 1525"/>
                <a:gd name="T12" fmla="*/ 162 w 1688"/>
                <a:gd name="T13" fmla="*/ 1264 h 1525"/>
                <a:gd name="T14" fmla="*/ 792 w 1688"/>
                <a:gd name="T15" fmla="*/ 202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8" h="1525">
                  <a:moveTo>
                    <a:pt x="792" y="0"/>
                  </a:moveTo>
                  <a:lnTo>
                    <a:pt x="0" y="1348"/>
                  </a:lnTo>
                  <a:lnTo>
                    <a:pt x="1687" y="1524"/>
                  </a:lnTo>
                  <a:lnTo>
                    <a:pt x="792" y="0"/>
                  </a:lnTo>
                  <a:close/>
                  <a:moveTo>
                    <a:pt x="792" y="202"/>
                  </a:moveTo>
                  <a:lnTo>
                    <a:pt x="1484" y="1392"/>
                  </a:lnTo>
                  <a:lnTo>
                    <a:pt x="162" y="1264"/>
                  </a:lnTo>
                  <a:lnTo>
                    <a:pt x="792" y="202"/>
                  </a:lnTo>
                  <a:close/>
                </a:path>
              </a:pathLst>
            </a:custGeom>
            <a:solidFill>
              <a:srgbClr val="FD4E4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1" name="Freeform 51">
              <a:extLst>
                <a:ext uri="{FF2B5EF4-FFF2-40B4-BE49-F238E27FC236}">
                  <a16:creationId xmlns:a16="http://schemas.microsoft.com/office/drawing/2014/main" id="{9F193920-0BBB-1137-4D5A-E0F4F34CBF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92445" y="8363660"/>
              <a:ext cx="171720" cy="807240"/>
            </a:xfrm>
            <a:custGeom>
              <a:avLst/>
              <a:gdLst>
                <a:gd name="connsiteX0" fmla="*/ 81770 w 163537"/>
                <a:gd name="connsiteY0" fmla="*/ 596977 h 768771"/>
                <a:gd name="connsiteX1" fmla="*/ 163537 w 163537"/>
                <a:gd name="connsiteY1" fmla="*/ 690094 h 768771"/>
                <a:gd name="connsiteX2" fmla="*/ 81770 w 163537"/>
                <a:gd name="connsiteY2" fmla="*/ 768313 h 768771"/>
                <a:gd name="connsiteX3" fmla="*/ 3 w 163537"/>
                <a:gd name="connsiteY3" fmla="*/ 676437 h 768771"/>
                <a:gd name="connsiteX4" fmla="*/ 81770 w 163537"/>
                <a:gd name="connsiteY4" fmla="*/ 596977 h 768771"/>
                <a:gd name="connsiteX5" fmla="*/ 0 w 163537"/>
                <a:gd name="connsiteY5" fmla="*/ 0 h 768771"/>
                <a:gd name="connsiteX6" fmla="*/ 158055 w 163537"/>
                <a:gd name="connsiteY6" fmla="*/ 4960 h 768771"/>
                <a:gd name="connsiteX7" fmla="*/ 131920 w 163537"/>
                <a:gd name="connsiteY7" fmla="*/ 548064 h 768771"/>
                <a:gd name="connsiteX8" fmla="*/ 26135 w 163537"/>
                <a:gd name="connsiteY8" fmla="*/ 540624 h 76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537" h="768771">
                  <a:moveTo>
                    <a:pt x="81770" y="596977"/>
                  </a:moveTo>
                  <a:cubicBezTo>
                    <a:pt x="127056" y="600701"/>
                    <a:pt x="163537" y="641673"/>
                    <a:pt x="163537" y="690094"/>
                  </a:cubicBezTo>
                  <a:cubicBezTo>
                    <a:pt x="163537" y="737274"/>
                    <a:pt x="127056" y="773279"/>
                    <a:pt x="81770" y="768313"/>
                  </a:cubicBezTo>
                  <a:cubicBezTo>
                    <a:pt x="36484" y="765830"/>
                    <a:pt x="3" y="723617"/>
                    <a:pt x="3" y="676437"/>
                  </a:cubicBezTo>
                  <a:cubicBezTo>
                    <a:pt x="3" y="629257"/>
                    <a:pt x="36484" y="593252"/>
                    <a:pt x="81770" y="596977"/>
                  </a:cubicBezTo>
                  <a:close/>
                  <a:moveTo>
                    <a:pt x="0" y="0"/>
                  </a:moveTo>
                  <a:lnTo>
                    <a:pt x="158055" y="4960"/>
                  </a:lnTo>
                  <a:lnTo>
                    <a:pt x="131920" y="548064"/>
                  </a:lnTo>
                  <a:lnTo>
                    <a:pt x="26135" y="540624"/>
                  </a:lnTo>
                  <a:close/>
                </a:path>
              </a:pathLst>
            </a:custGeom>
            <a:solidFill>
              <a:srgbClr val="FD4E4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E33B9106-607A-61E6-D09B-27FA9AAFA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78965" y="7602298"/>
              <a:ext cx="1217028" cy="2013000"/>
            </a:xfrm>
            <a:custGeom>
              <a:avLst/>
              <a:gdLst>
                <a:gd name="T0" fmla="*/ 0 w 929"/>
                <a:gd name="T1" fmla="*/ 16 h 1541"/>
                <a:gd name="T2" fmla="*/ 895 w 929"/>
                <a:gd name="T3" fmla="*/ 1540 h 1541"/>
                <a:gd name="T4" fmla="*/ 928 w 929"/>
                <a:gd name="T5" fmla="*/ 1512 h 1541"/>
                <a:gd name="T6" fmla="*/ 31 w 929"/>
                <a:gd name="T7" fmla="*/ 0 h 1541"/>
                <a:gd name="T8" fmla="*/ 0 w 929"/>
                <a:gd name="T9" fmla="*/ 16 h 1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9" h="1541">
                  <a:moveTo>
                    <a:pt x="0" y="16"/>
                  </a:moveTo>
                  <a:lnTo>
                    <a:pt x="895" y="1540"/>
                  </a:lnTo>
                  <a:lnTo>
                    <a:pt x="928" y="1512"/>
                  </a:lnTo>
                  <a:lnTo>
                    <a:pt x="31" y="0"/>
                  </a:lnTo>
                  <a:lnTo>
                    <a:pt x="0" y="16"/>
                  </a:lnTo>
                </a:path>
              </a:pathLst>
            </a:custGeom>
            <a:solidFill>
              <a:srgbClr val="D6303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D893E628-51AC-1D0B-A473-0DF5A89935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40094" y="6667892"/>
              <a:ext cx="969009" cy="1309315"/>
            </a:xfrm>
            <a:custGeom>
              <a:avLst/>
              <a:gdLst>
                <a:gd name="T0" fmla="*/ 734 w 739"/>
                <a:gd name="T1" fmla="*/ 482 h 1001"/>
                <a:gd name="T2" fmla="*/ 566 w 739"/>
                <a:gd name="T3" fmla="*/ 314 h 1001"/>
                <a:gd name="T4" fmla="*/ 566 w 739"/>
                <a:gd name="T5" fmla="*/ 314 h 1001"/>
                <a:gd name="T6" fmla="*/ 563 w 739"/>
                <a:gd name="T7" fmla="*/ 301 h 1001"/>
                <a:gd name="T8" fmla="*/ 693 w 739"/>
                <a:gd name="T9" fmla="*/ 0 h 1001"/>
                <a:gd name="T10" fmla="*/ 18 w 739"/>
                <a:gd name="T11" fmla="*/ 26 h 1001"/>
                <a:gd name="T12" fmla="*/ 18 w 739"/>
                <a:gd name="T13" fmla="*/ 26 h 1001"/>
                <a:gd name="T14" fmla="*/ 0 w 739"/>
                <a:gd name="T15" fmla="*/ 44 h 1001"/>
                <a:gd name="T16" fmla="*/ 0 w 739"/>
                <a:gd name="T17" fmla="*/ 956 h 1001"/>
                <a:gd name="T18" fmla="*/ 0 w 739"/>
                <a:gd name="T19" fmla="*/ 956 h 1001"/>
                <a:gd name="T20" fmla="*/ 18 w 739"/>
                <a:gd name="T21" fmla="*/ 973 h 1001"/>
                <a:gd name="T22" fmla="*/ 687 w 739"/>
                <a:gd name="T23" fmla="*/ 1000 h 1001"/>
                <a:gd name="T24" fmla="*/ 592 w 739"/>
                <a:gd name="T25" fmla="*/ 808 h 1001"/>
                <a:gd name="T26" fmla="*/ 592 w 739"/>
                <a:gd name="T27" fmla="*/ 808 h 1001"/>
                <a:gd name="T28" fmla="*/ 592 w 739"/>
                <a:gd name="T29" fmla="*/ 798 h 1001"/>
                <a:gd name="T30" fmla="*/ 736 w 739"/>
                <a:gd name="T31" fmla="*/ 495 h 1001"/>
                <a:gd name="T32" fmla="*/ 736 w 739"/>
                <a:gd name="T33" fmla="*/ 495 h 1001"/>
                <a:gd name="T34" fmla="*/ 734 w 739"/>
                <a:gd name="T35" fmla="*/ 482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9" h="1001">
                  <a:moveTo>
                    <a:pt x="734" y="482"/>
                  </a:moveTo>
                  <a:lnTo>
                    <a:pt x="566" y="314"/>
                  </a:lnTo>
                  <a:lnTo>
                    <a:pt x="566" y="314"/>
                  </a:lnTo>
                  <a:cubicBezTo>
                    <a:pt x="562" y="311"/>
                    <a:pt x="561" y="306"/>
                    <a:pt x="563" y="301"/>
                  </a:cubicBezTo>
                  <a:lnTo>
                    <a:pt x="693" y="0"/>
                  </a:lnTo>
                  <a:lnTo>
                    <a:pt x="18" y="26"/>
                  </a:lnTo>
                  <a:lnTo>
                    <a:pt x="18" y="26"/>
                  </a:lnTo>
                  <a:cubicBezTo>
                    <a:pt x="8" y="27"/>
                    <a:pt x="0" y="35"/>
                    <a:pt x="0" y="44"/>
                  </a:cubicBezTo>
                  <a:lnTo>
                    <a:pt x="0" y="956"/>
                  </a:lnTo>
                  <a:lnTo>
                    <a:pt x="0" y="956"/>
                  </a:lnTo>
                  <a:cubicBezTo>
                    <a:pt x="0" y="965"/>
                    <a:pt x="8" y="973"/>
                    <a:pt x="18" y="973"/>
                  </a:cubicBezTo>
                  <a:lnTo>
                    <a:pt x="687" y="1000"/>
                  </a:lnTo>
                  <a:lnTo>
                    <a:pt x="592" y="808"/>
                  </a:lnTo>
                  <a:lnTo>
                    <a:pt x="592" y="808"/>
                  </a:lnTo>
                  <a:cubicBezTo>
                    <a:pt x="590" y="805"/>
                    <a:pt x="590" y="802"/>
                    <a:pt x="592" y="798"/>
                  </a:cubicBezTo>
                  <a:lnTo>
                    <a:pt x="736" y="495"/>
                  </a:lnTo>
                  <a:lnTo>
                    <a:pt x="736" y="495"/>
                  </a:lnTo>
                  <a:cubicBezTo>
                    <a:pt x="738" y="491"/>
                    <a:pt x="737" y="485"/>
                    <a:pt x="734" y="482"/>
                  </a:cubicBezTo>
                </a:path>
              </a:pathLst>
            </a:custGeom>
            <a:gradFill>
              <a:gsLst>
                <a:gs pos="11000">
                  <a:srgbClr val="3E64FC"/>
                </a:gs>
                <a:gs pos="92000">
                  <a:srgbClr val="4388FF"/>
                </a:gs>
              </a:gsLst>
              <a:lin ang="13500000" scaled="0"/>
            </a:gra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B3A3DF0A-538D-2A93-D57C-264301DE8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72620" y="6667892"/>
              <a:ext cx="294162" cy="1315085"/>
            </a:xfrm>
            <a:custGeom>
              <a:avLst/>
              <a:gdLst>
                <a:gd name="T0" fmla="*/ 218 w 224"/>
                <a:gd name="T1" fmla="*/ 481 h 1005"/>
                <a:gd name="T2" fmla="*/ 51 w 224"/>
                <a:gd name="T3" fmla="*/ 314 h 1005"/>
                <a:gd name="T4" fmla="*/ 51 w 224"/>
                <a:gd name="T5" fmla="*/ 314 h 1005"/>
                <a:gd name="T6" fmla="*/ 49 w 224"/>
                <a:gd name="T7" fmla="*/ 301 h 1005"/>
                <a:gd name="T8" fmla="*/ 171 w 224"/>
                <a:gd name="T9" fmla="*/ 16 h 1005"/>
                <a:gd name="T10" fmla="*/ 171 w 224"/>
                <a:gd name="T11" fmla="*/ 16 h 1005"/>
                <a:gd name="T12" fmla="*/ 160 w 224"/>
                <a:gd name="T13" fmla="*/ 0 h 1005"/>
                <a:gd name="T14" fmla="*/ 132 w 224"/>
                <a:gd name="T15" fmla="*/ 2 h 1005"/>
                <a:gd name="T16" fmla="*/ 2 w 224"/>
                <a:gd name="T17" fmla="*/ 303 h 1005"/>
                <a:gd name="T18" fmla="*/ 2 w 224"/>
                <a:gd name="T19" fmla="*/ 303 h 1005"/>
                <a:gd name="T20" fmla="*/ 5 w 224"/>
                <a:gd name="T21" fmla="*/ 316 h 1005"/>
                <a:gd name="T22" fmla="*/ 173 w 224"/>
                <a:gd name="T23" fmla="*/ 484 h 1005"/>
                <a:gd name="T24" fmla="*/ 173 w 224"/>
                <a:gd name="T25" fmla="*/ 484 h 1005"/>
                <a:gd name="T26" fmla="*/ 175 w 224"/>
                <a:gd name="T27" fmla="*/ 497 h 1005"/>
                <a:gd name="T28" fmla="*/ 31 w 224"/>
                <a:gd name="T29" fmla="*/ 800 h 1005"/>
                <a:gd name="T30" fmla="*/ 31 w 224"/>
                <a:gd name="T31" fmla="*/ 800 h 1005"/>
                <a:gd name="T32" fmla="*/ 31 w 224"/>
                <a:gd name="T33" fmla="*/ 810 h 1005"/>
                <a:gd name="T34" fmla="*/ 123 w 224"/>
                <a:gd name="T35" fmla="*/ 996 h 1005"/>
                <a:gd name="T36" fmla="*/ 123 w 224"/>
                <a:gd name="T37" fmla="*/ 996 h 1005"/>
                <a:gd name="T38" fmla="*/ 132 w 224"/>
                <a:gd name="T39" fmla="*/ 1003 h 1005"/>
                <a:gd name="T40" fmla="*/ 154 w 224"/>
                <a:gd name="T41" fmla="*/ 1003 h 1005"/>
                <a:gd name="T42" fmla="*/ 154 w 224"/>
                <a:gd name="T43" fmla="*/ 1003 h 1005"/>
                <a:gd name="T44" fmla="*/ 165 w 224"/>
                <a:gd name="T45" fmla="*/ 987 h 1005"/>
                <a:gd name="T46" fmla="*/ 77 w 224"/>
                <a:gd name="T47" fmla="*/ 808 h 1005"/>
                <a:gd name="T48" fmla="*/ 77 w 224"/>
                <a:gd name="T49" fmla="*/ 808 h 1005"/>
                <a:gd name="T50" fmla="*/ 77 w 224"/>
                <a:gd name="T51" fmla="*/ 797 h 1005"/>
                <a:gd name="T52" fmla="*/ 221 w 224"/>
                <a:gd name="T53" fmla="*/ 495 h 1005"/>
                <a:gd name="T54" fmla="*/ 221 w 224"/>
                <a:gd name="T55" fmla="*/ 495 h 1005"/>
                <a:gd name="T56" fmla="*/ 218 w 224"/>
                <a:gd name="T57" fmla="*/ 481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4" h="1005">
                  <a:moveTo>
                    <a:pt x="218" y="481"/>
                  </a:moveTo>
                  <a:lnTo>
                    <a:pt x="51" y="314"/>
                  </a:lnTo>
                  <a:lnTo>
                    <a:pt x="51" y="314"/>
                  </a:lnTo>
                  <a:cubicBezTo>
                    <a:pt x="48" y="311"/>
                    <a:pt x="47" y="305"/>
                    <a:pt x="49" y="301"/>
                  </a:cubicBezTo>
                  <a:lnTo>
                    <a:pt x="171" y="16"/>
                  </a:lnTo>
                  <a:lnTo>
                    <a:pt x="171" y="16"/>
                  </a:lnTo>
                  <a:cubicBezTo>
                    <a:pt x="175" y="8"/>
                    <a:pt x="168" y="0"/>
                    <a:pt x="160" y="0"/>
                  </a:cubicBezTo>
                  <a:lnTo>
                    <a:pt x="132" y="2"/>
                  </a:lnTo>
                  <a:lnTo>
                    <a:pt x="2" y="303"/>
                  </a:lnTo>
                  <a:lnTo>
                    <a:pt x="2" y="303"/>
                  </a:lnTo>
                  <a:cubicBezTo>
                    <a:pt x="0" y="308"/>
                    <a:pt x="1" y="313"/>
                    <a:pt x="5" y="316"/>
                  </a:cubicBezTo>
                  <a:lnTo>
                    <a:pt x="173" y="484"/>
                  </a:lnTo>
                  <a:lnTo>
                    <a:pt x="173" y="484"/>
                  </a:lnTo>
                  <a:cubicBezTo>
                    <a:pt x="176" y="487"/>
                    <a:pt x="177" y="493"/>
                    <a:pt x="175" y="497"/>
                  </a:cubicBezTo>
                  <a:lnTo>
                    <a:pt x="31" y="800"/>
                  </a:lnTo>
                  <a:lnTo>
                    <a:pt x="31" y="800"/>
                  </a:lnTo>
                  <a:cubicBezTo>
                    <a:pt x="29" y="804"/>
                    <a:pt x="29" y="807"/>
                    <a:pt x="31" y="810"/>
                  </a:cubicBezTo>
                  <a:lnTo>
                    <a:pt x="123" y="996"/>
                  </a:lnTo>
                  <a:lnTo>
                    <a:pt x="123" y="996"/>
                  </a:lnTo>
                  <a:cubicBezTo>
                    <a:pt x="124" y="1000"/>
                    <a:pt x="128" y="1002"/>
                    <a:pt x="132" y="1003"/>
                  </a:cubicBezTo>
                  <a:lnTo>
                    <a:pt x="154" y="1003"/>
                  </a:lnTo>
                  <a:lnTo>
                    <a:pt x="154" y="1003"/>
                  </a:lnTo>
                  <a:cubicBezTo>
                    <a:pt x="164" y="1004"/>
                    <a:pt x="170" y="995"/>
                    <a:pt x="165" y="987"/>
                  </a:cubicBezTo>
                  <a:lnTo>
                    <a:pt x="77" y="808"/>
                  </a:lnTo>
                  <a:lnTo>
                    <a:pt x="77" y="808"/>
                  </a:lnTo>
                  <a:cubicBezTo>
                    <a:pt x="76" y="805"/>
                    <a:pt x="76" y="801"/>
                    <a:pt x="77" y="797"/>
                  </a:cubicBezTo>
                  <a:lnTo>
                    <a:pt x="221" y="495"/>
                  </a:lnTo>
                  <a:lnTo>
                    <a:pt x="221" y="495"/>
                  </a:lnTo>
                  <a:cubicBezTo>
                    <a:pt x="223" y="490"/>
                    <a:pt x="222" y="485"/>
                    <a:pt x="218" y="481"/>
                  </a:cubicBezTo>
                </a:path>
              </a:pathLst>
            </a:custGeom>
            <a:solidFill>
              <a:srgbClr val="050E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5" name="Freeform 55">
              <a:extLst>
                <a:ext uri="{FF2B5EF4-FFF2-40B4-BE49-F238E27FC236}">
                  <a16:creationId xmlns:a16="http://schemas.microsoft.com/office/drawing/2014/main" id="{A41686B3-E6F7-92A0-3AAC-2064584BAA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4635" y="7538847"/>
              <a:ext cx="517827" cy="73714"/>
            </a:xfrm>
            <a:custGeom>
              <a:avLst/>
              <a:gdLst>
                <a:gd name="connsiteX0" fmla="*/ 417473 w 493150"/>
                <a:gd name="connsiteY0" fmla="*/ 7262 h 70201"/>
                <a:gd name="connsiteX1" fmla="*/ 405703 w 493150"/>
                <a:gd name="connsiteY1" fmla="*/ 14525 h 70201"/>
                <a:gd name="connsiteX2" fmla="*/ 400471 w 493150"/>
                <a:gd name="connsiteY2" fmla="*/ 36311 h 70201"/>
                <a:gd name="connsiteX3" fmla="*/ 403087 w 493150"/>
                <a:gd name="connsiteY3" fmla="*/ 52046 h 70201"/>
                <a:gd name="connsiteX4" fmla="*/ 416166 w 493150"/>
                <a:gd name="connsiteY4" fmla="*/ 61728 h 70201"/>
                <a:gd name="connsiteX5" fmla="*/ 429244 w 493150"/>
                <a:gd name="connsiteY5" fmla="*/ 56887 h 70201"/>
                <a:gd name="connsiteX6" fmla="*/ 433168 w 493150"/>
                <a:gd name="connsiteY6" fmla="*/ 33890 h 70201"/>
                <a:gd name="connsiteX7" fmla="*/ 430552 w 493150"/>
                <a:gd name="connsiteY7" fmla="*/ 15735 h 70201"/>
                <a:gd name="connsiteX8" fmla="*/ 417473 w 493150"/>
                <a:gd name="connsiteY8" fmla="*/ 7262 h 70201"/>
                <a:gd name="connsiteX9" fmla="*/ 357049 w 493150"/>
                <a:gd name="connsiteY9" fmla="*/ 7262 h 70201"/>
                <a:gd name="connsiteX10" fmla="*/ 344564 w 493150"/>
                <a:gd name="connsiteY10" fmla="*/ 14525 h 70201"/>
                <a:gd name="connsiteX11" fmla="*/ 340819 w 493150"/>
                <a:gd name="connsiteY11" fmla="*/ 36311 h 70201"/>
                <a:gd name="connsiteX12" fmla="*/ 343316 w 493150"/>
                <a:gd name="connsiteY12" fmla="*/ 52046 h 70201"/>
                <a:gd name="connsiteX13" fmla="*/ 355800 w 493150"/>
                <a:gd name="connsiteY13" fmla="*/ 61728 h 70201"/>
                <a:gd name="connsiteX14" fmla="*/ 368284 w 493150"/>
                <a:gd name="connsiteY14" fmla="*/ 56887 h 70201"/>
                <a:gd name="connsiteX15" fmla="*/ 372030 w 493150"/>
                <a:gd name="connsiteY15" fmla="*/ 33890 h 70201"/>
                <a:gd name="connsiteX16" fmla="*/ 369533 w 493150"/>
                <a:gd name="connsiteY16" fmla="*/ 15735 h 70201"/>
                <a:gd name="connsiteX17" fmla="*/ 357049 w 493150"/>
                <a:gd name="connsiteY17" fmla="*/ 7262 h 70201"/>
                <a:gd name="connsiteX18" fmla="*/ 296627 w 493150"/>
                <a:gd name="connsiteY18" fmla="*/ 7262 h 70201"/>
                <a:gd name="connsiteX19" fmla="*/ 283548 w 493150"/>
                <a:gd name="connsiteY19" fmla="*/ 14525 h 70201"/>
                <a:gd name="connsiteX20" fmla="*/ 279624 w 493150"/>
                <a:gd name="connsiteY20" fmla="*/ 36311 h 70201"/>
                <a:gd name="connsiteX21" fmla="*/ 282240 w 493150"/>
                <a:gd name="connsiteY21" fmla="*/ 52046 h 70201"/>
                <a:gd name="connsiteX22" fmla="*/ 296627 w 493150"/>
                <a:gd name="connsiteY22" fmla="*/ 61728 h 70201"/>
                <a:gd name="connsiteX23" fmla="*/ 308397 w 493150"/>
                <a:gd name="connsiteY23" fmla="*/ 56887 h 70201"/>
                <a:gd name="connsiteX24" fmla="*/ 312321 w 493150"/>
                <a:gd name="connsiteY24" fmla="*/ 33890 h 70201"/>
                <a:gd name="connsiteX25" fmla="*/ 309705 w 493150"/>
                <a:gd name="connsiteY25" fmla="*/ 15735 h 70201"/>
                <a:gd name="connsiteX26" fmla="*/ 296627 w 493150"/>
                <a:gd name="connsiteY26" fmla="*/ 7262 h 70201"/>
                <a:gd name="connsiteX27" fmla="*/ 208739 w 493150"/>
                <a:gd name="connsiteY27" fmla="*/ 7262 h 70201"/>
                <a:gd name="connsiteX28" fmla="*/ 194352 w 493150"/>
                <a:gd name="connsiteY28" fmla="*/ 14525 h 70201"/>
                <a:gd name="connsiteX29" fmla="*/ 191736 w 493150"/>
                <a:gd name="connsiteY29" fmla="*/ 36311 h 70201"/>
                <a:gd name="connsiteX30" fmla="*/ 194352 w 493150"/>
                <a:gd name="connsiteY30" fmla="*/ 52046 h 70201"/>
                <a:gd name="connsiteX31" fmla="*/ 207431 w 493150"/>
                <a:gd name="connsiteY31" fmla="*/ 61728 h 70201"/>
                <a:gd name="connsiteX32" fmla="*/ 220509 w 493150"/>
                <a:gd name="connsiteY32" fmla="*/ 56887 h 70201"/>
                <a:gd name="connsiteX33" fmla="*/ 224433 w 493150"/>
                <a:gd name="connsiteY33" fmla="*/ 33890 h 70201"/>
                <a:gd name="connsiteX34" fmla="*/ 221817 w 493150"/>
                <a:gd name="connsiteY34" fmla="*/ 15735 h 70201"/>
                <a:gd name="connsiteX35" fmla="*/ 208739 w 493150"/>
                <a:gd name="connsiteY35" fmla="*/ 7262 h 70201"/>
                <a:gd name="connsiteX36" fmla="*/ 148951 w 493150"/>
                <a:gd name="connsiteY36" fmla="*/ 7262 h 70201"/>
                <a:gd name="connsiteX37" fmla="*/ 136177 w 493150"/>
                <a:gd name="connsiteY37" fmla="*/ 14525 h 70201"/>
                <a:gd name="connsiteX38" fmla="*/ 132344 w 493150"/>
                <a:gd name="connsiteY38" fmla="*/ 36311 h 70201"/>
                <a:gd name="connsiteX39" fmla="*/ 134899 w 493150"/>
                <a:gd name="connsiteY39" fmla="*/ 52046 h 70201"/>
                <a:gd name="connsiteX40" fmla="*/ 147674 w 493150"/>
                <a:gd name="connsiteY40" fmla="*/ 61728 h 70201"/>
                <a:gd name="connsiteX41" fmla="*/ 159171 w 493150"/>
                <a:gd name="connsiteY41" fmla="*/ 56887 h 70201"/>
                <a:gd name="connsiteX42" fmla="*/ 164281 w 493150"/>
                <a:gd name="connsiteY42" fmla="*/ 33890 h 70201"/>
                <a:gd name="connsiteX43" fmla="*/ 160448 w 493150"/>
                <a:gd name="connsiteY43" fmla="*/ 15735 h 70201"/>
                <a:gd name="connsiteX44" fmla="*/ 148951 w 493150"/>
                <a:gd name="connsiteY44" fmla="*/ 7262 h 70201"/>
                <a:gd name="connsiteX45" fmla="*/ 86584 w 493150"/>
                <a:gd name="connsiteY45" fmla="*/ 7262 h 70201"/>
                <a:gd name="connsiteX46" fmla="*/ 74813 w 493150"/>
                <a:gd name="connsiteY46" fmla="*/ 14525 h 70201"/>
                <a:gd name="connsiteX47" fmla="*/ 70889 w 493150"/>
                <a:gd name="connsiteY47" fmla="*/ 36311 h 70201"/>
                <a:gd name="connsiteX48" fmla="*/ 72197 w 493150"/>
                <a:gd name="connsiteY48" fmla="*/ 52046 h 70201"/>
                <a:gd name="connsiteX49" fmla="*/ 86584 w 493150"/>
                <a:gd name="connsiteY49" fmla="*/ 61728 h 70201"/>
                <a:gd name="connsiteX50" fmla="*/ 99662 w 493150"/>
                <a:gd name="connsiteY50" fmla="*/ 56887 h 70201"/>
                <a:gd name="connsiteX51" fmla="*/ 103586 w 493150"/>
                <a:gd name="connsiteY51" fmla="*/ 33890 h 70201"/>
                <a:gd name="connsiteX52" fmla="*/ 99662 w 493150"/>
                <a:gd name="connsiteY52" fmla="*/ 15735 h 70201"/>
                <a:gd name="connsiteX53" fmla="*/ 86584 w 493150"/>
                <a:gd name="connsiteY53" fmla="*/ 7262 h 70201"/>
                <a:gd name="connsiteX54" fmla="*/ 28104 w 493150"/>
                <a:gd name="connsiteY54" fmla="*/ 7262 h 70201"/>
                <a:gd name="connsiteX55" fmla="*/ 15330 w 493150"/>
                <a:gd name="connsiteY55" fmla="*/ 14525 h 70201"/>
                <a:gd name="connsiteX56" fmla="*/ 11497 w 493150"/>
                <a:gd name="connsiteY56" fmla="*/ 36311 h 70201"/>
                <a:gd name="connsiteX57" fmla="*/ 14052 w 493150"/>
                <a:gd name="connsiteY57" fmla="*/ 52046 h 70201"/>
                <a:gd name="connsiteX58" fmla="*/ 26827 w 493150"/>
                <a:gd name="connsiteY58" fmla="*/ 61728 h 70201"/>
                <a:gd name="connsiteX59" fmla="*/ 38324 w 493150"/>
                <a:gd name="connsiteY59" fmla="*/ 56887 h 70201"/>
                <a:gd name="connsiteX60" fmla="*/ 43434 w 493150"/>
                <a:gd name="connsiteY60" fmla="*/ 33890 h 70201"/>
                <a:gd name="connsiteX61" fmla="*/ 40879 w 493150"/>
                <a:gd name="connsiteY61" fmla="*/ 15735 h 70201"/>
                <a:gd name="connsiteX62" fmla="*/ 28104 w 493150"/>
                <a:gd name="connsiteY62" fmla="*/ 7262 h 70201"/>
                <a:gd name="connsiteX63" fmla="*/ 476061 w 493150"/>
                <a:gd name="connsiteY63" fmla="*/ 0 h 70201"/>
                <a:gd name="connsiteX64" fmla="*/ 493150 w 493150"/>
                <a:gd name="connsiteY64" fmla="*/ 7517 h 70201"/>
                <a:gd name="connsiteX65" fmla="*/ 488268 w 493150"/>
                <a:gd name="connsiteY65" fmla="*/ 17540 h 70201"/>
                <a:gd name="connsiteX66" fmla="*/ 488268 w 493150"/>
                <a:gd name="connsiteY66" fmla="*/ 16287 h 70201"/>
                <a:gd name="connsiteX67" fmla="*/ 476061 w 493150"/>
                <a:gd name="connsiteY67" fmla="*/ 7517 h 70201"/>
                <a:gd name="connsiteX68" fmla="*/ 463854 w 493150"/>
                <a:gd name="connsiteY68" fmla="*/ 15034 h 70201"/>
                <a:gd name="connsiteX69" fmla="*/ 460192 w 493150"/>
                <a:gd name="connsiteY69" fmla="*/ 37585 h 70201"/>
                <a:gd name="connsiteX70" fmla="*/ 462633 w 493150"/>
                <a:gd name="connsiteY70" fmla="*/ 53872 h 70201"/>
                <a:gd name="connsiteX71" fmla="*/ 468736 w 493150"/>
                <a:gd name="connsiteY71" fmla="*/ 62641 h 70201"/>
                <a:gd name="connsiteX72" fmla="*/ 465074 w 493150"/>
                <a:gd name="connsiteY72" fmla="*/ 70158 h 70201"/>
                <a:gd name="connsiteX73" fmla="*/ 455309 w 493150"/>
                <a:gd name="connsiteY73" fmla="*/ 61389 h 70201"/>
                <a:gd name="connsiteX74" fmla="*/ 450426 w 493150"/>
                <a:gd name="connsiteY74" fmla="*/ 36332 h 70201"/>
                <a:gd name="connsiteX75" fmla="*/ 454088 w 493150"/>
                <a:gd name="connsiteY75" fmla="*/ 16287 h 70201"/>
                <a:gd name="connsiteX76" fmla="*/ 476061 w 493150"/>
                <a:gd name="connsiteY76" fmla="*/ 0 h 70201"/>
                <a:gd name="connsiteX77" fmla="*/ 416166 w 493150"/>
                <a:gd name="connsiteY77" fmla="*/ 0 h 70201"/>
                <a:gd name="connsiteX78" fmla="*/ 439707 w 493150"/>
                <a:gd name="connsiteY78" fmla="*/ 10893 h 70201"/>
                <a:gd name="connsiteX79" fmla="*/ 443631 w 493150"/>
                <a:gd name="connsiteY79" fmla="*/ 33890 h 70201"/>
                <a:gd name="connsiteX80" fmla="*/ 439707 w 493150"/>
                <a:gd name="connsiteY80" fmla="*/ 56887 h 70201"/>
                <a:gd name="connsiteX81" fmla="*/ 416166 w 493150"/>
                <a:gd name="connsiteY81" fmla="*/ 70201 h 70201"/>
                <a:gd name="connsiteX82" fmla="*/ 395240 w 493150"/>
                <a:gd name="connsiteY82" fmla="*/ 59308 h 70201"/>
                <a:gd name="connsiteX83" fmla="*/ 390008 w 493150"/>
                <a:gd name="connsiteY83" fmla="*/ 35101 h 70201"/>
                <a:gd name="connsiteX84" fmla="*/ 392624 w 493150"/>
                <a:gd name="connsiteY84" fmla="*/ 15735 h 70201"/>
                <a:gd name="connsiteX85" fmla="*/ 416166 w 493150"/>
                <a:gd name="connsiteY85" fmla="*/ 0 h 70201"/>
                <a:gd name="connsiteX86" fmla="*/ 355800 w 493150"/>
                <a:gd name="connsiteY86" fmla="*/ 0 h 70201"/>
                <a:gd name="connsiteX87" fmla="*/ 377023 w 493150"/>
                <a:gd name="connsiteY87" fmla="*/ 10893 h 70201"/>
                <a:gd name="connsiteX88" fmla="*/ 383266 w 493150"/>
                <a:gd name="connsiteY88" fmla="*/ 33890 h 70201"/>
                <a:gd name="connsiteX89" fmla="*/ 378272 w 493150"/>
                <a:gd name="connsiteY89" fmla="*/ 56887 h 70201"/>
                <a:gd name="connsiteX90" fmla="*/ 355800 w 493150"/>
                <a:gd name="connsiteY90" fmla="*/ 70201 h 70201"/>
                <a:gd name="connsiteX91" fmla="*/ 335825 w 493150"/>
                <a:gd name="connsiteY91" fmla="*/ 59308 h 70201"/>
                <a:gd name="connsiteX92" fmla="*/ 329583 w 493150"/>
                <a:gd name="connsiteY92" fmla="*/ 35101 h 70201"/>
                <a:gd name="connsiteX93" fmla="*/ 334577 w 493150"/>
                <a:gd name="connsiteY93" fmla="*/ 15735 h 70201"/>
                <a:gd name="connsiteX94" fmla="*/ 355800 w 493150"/>
                <a:gd name="connsiteY94" fmla="*/ 0 h 70201"/>
                <a:gd name="connsiteX95" fmla="*/ 296627 w 493150"/>
                <a:gd name="connsiteY95" fmla="*/ 0 h 70201"/>
                <a:gd name="connsiteX96" fmla="*/ 317553 w 493150"/>
                <a:gd name="connsiteY96" fmla="*/ 10893 h 70201"/>
                <a:gd name="connsiteX97" fmla="*/ 322784 w 493150"/>
                <a:gd name="connsiteY97" fmla="*/ 33890 h 70201"/>
                <a:gd name="connsiteX98" fmla="*/ 318860 w 493150"/>
                <a:gd name="connsiteY98" fmla="*/ 56887 h 70201"/>
                <a:gd name="connsiteX99" fmla="*/ 296627 w 493150"/>
                <a:gd name="connsiteY99" fmla="*/ 70201 h 70201"/>
                <a:gd name="connsiteX100" fmla="*/ 274393 w 493150"/>
                <a:gd name="connsiteY100" fmla="*/ 59308 h 70201"/>
                <a:gd name="connsiteX101" fmla="*/ 269161 w 493150"/>
                <a:gd name="connsiteY101" fmla="*/ 35101 h 70201"/>
                <a:gd name="connsiteX102" fmla="*/ 271777 w 493150"/>
                <a:gd name="connsiteY102" fmla="*/ 15735 h 70201"/>
                <a:gd name="connsiteX103" fmla="*/ 296627 w 493150"/>
                <a:gd name="connsiteY103" fmla="*/ 0 h 70201"/>
                <a:gd name="connsiteX104" fmla="*/ 207431 w 493150"/>
                <a:gd name="connsiteY104" fmla="*/ 0 h 70201"/>
                <a:gd name="connsiteX105" fmla="*/ 230972 w 493150"/>
                <a:gd name="connsiteY105" fmla="*/ 10893 h 70201"/>
                <a:gd name="connsiteX106" fmla="*/ 234896 w 493150"/>
                <a:gd name="connsiteY106" fmla="*/ 33890 h 70201"/>
                <a:gd name="connsiteX107" fmla="*/ 230972 w 493150"/>
                <a:gd name="connsiteY107" fmla="*/ 56887 h 70201"/>
                <a:gd name="connsiteX108" fmla="*/ 207431 w 493150"/>
                <a:gd name="connsiteY108" fmla="*/ 70201 h 70201"/>
                <a:gd name="connsiteX109" fmla="*/ 186505 w 493150"/>
                <a:gd name="connsiteY109" fmla="*/ 59308 h 70201"/>
                <a:gd name="connsiteX110" fmla="*/ 181273 w 493150"/>
                <a:gd name="connsiteY110" fmla="*/ 35101 h 70201"/>
                <a:gd name="connsiteX111" fmla="*/ 183889 w 493150"/>
                <a:gd name="connsiteY111" fmla="*/ 15735 h 70201"/>
                <a:gd name="connsiteX112" fmla="*/ 207431 w 493150"/>
                <a:gd name="connsiteY112" fmla="*/ 0 h 70201"/>
                <a:gd name="connsiteX113" fmla="*/ 147674 w 493150"/>
                <a:gd name="connsiteY113" fmla="*/ 0 h 70201"/>
                <a:gd name="connsiteX114" fmla="*/ 169391 w 493150"/>
                <a:gd name="connsiteY114" fmla="*/ 10893 h 70201"/>
                <a:gd name="connsiteX115" fmla="*/ 174501 w 493150"/>
                <a:gd name="connsiteY115" fmla="*/ 33890 h 70201"/>
                <a:gd name="connsiteX116" fmla="*/ 170668 w 493150"/>
                <a:gd name="connsiteY116" fmla="*/ 56887 h 70201"/>
                <a:gd name="connsiteX117" fmla="*/ 147674 w 493150"/>
                <a:gd name="connsiteY117" fmla="*/ 70201 h 70201"/>
                <a:gd name="connsiteX118" fmla="*/ 127234 w 493150"/>
                <a:gd name="connsiteY118" fmla="*/ 59308 h 70201"/>
                <a:gd name="connsiteX119" fmla="*/ 120847 w 493150"/>
                <a:gd name="connsiteY119" fmla="*/ 35101 h 70201"/>
                <a:gd name="connsiteX120" fmla="*/ 124679 w 493150"/>
                <a:gd name="connsiteY120" fmla="*/ 15735 h 70201"/>
                <a:gd name="connsiteX121" fmla="*/ 147674 w 493150"/>
                <a:gd name="connsiteY121" fmla="*/ 0 h 70201"/>
                <a:gd name="connsiteX122" fmla="*/ 86584 w 493150"/>
                <a:gd name="connsiteY122" fmla="*/ 0 h 70201"/>
                <a:gd name="connsiteX123" fmla="*/ 108818 w 493150"/>
                <a:gd name="connsiteY123" fmla="*/ 10893 h 70201"/>
                <a:gd name="connsiteX124" fmla="*/ 114049 w 493150"/>
                <a:gd name="connsiteY124" fmla="*/ 33890 h 70201"/>
                <a:gd name="connsiteX125" fmla="*/ 108818 w 493150"/>
                <a:gd name="connsiteY125" fmla="*/ 56887 h 70201"/>
                <a:gd name="connsiteX126" fmla="*/ 86584 w 493150"/>
                <a:gd name="connsiteY126" fmla="*/ 70201 h 70201"/>
                <a:gd name="connsiteX127" fmla="*/ 65658 w 493150"/>
                <a:gd name="connsiteY127" fmla="*/ 59308 h 70201"/>
                <a:gd name="connsiteX128" fmla="*/ 60426 w 493150"/>
                <a:gd name="connsiteY128" fmla="*/ 35101 h 70201"/>
                <a:gd name="connsiteX129" fmla="*/ 63042 w 493150"/>
                <a:gd name="connsiteY129" fmla="*/ 15735 h 70201"/>
                <a:gd name="connsiteX130" fmla="*/ 86584 w 493150"/>
                <a:gd name="connsiteY130" fmla="*/ 0 h 70201"/>
                <a:gd name="connsiteX131" fmla="*/ 26827 w 493150"/>
                <a:gd name="connsiteY131" fmla="*/ 0 h 70201"/>
                <a:gd name="connsiteX132" fmla="*/ 48544 w 493150"/>
                <a:gd name="connsiteY132" fmla="*/ 10893 h 70201"/>
                <a:gd name="connsiteX133" fmla="*/ 53654 w 493150"/>
                <a:gd name="connsiteY133" fmla="*/ 33890 h 70201"/>
                <a:gd name="connsiteX134" fmla="*/ 48544 w 493150"/>
                <a:gd name="connsiteY134" fmla="*/ 56887 h 70201"/>
                <a:gd name="connsiteX135" fmla="*/ 26827 w 493150"/>
                <a:gd name="connsiteY135" fmla="*/ 70201 h 70201"/>
                <a:gd name="connsiteX136" fmla="*/ 6387 w 493150"/>
                <a:gd name="connsiteY136" fmla="*/ 59308 h 70201"/>
                <a:gd name="connsiteX137" fmla="*/ 0 w 493150"/>
                <a:gd name="connsiteY137" fmla="*/ 35101 h 70201"/>
                <a:gd name="connsiteX138" fmla="*/ 3832 w 493150"/>
                <a:gd name="connsiteY138" fmla="*/ 15735 h 70201"/>
                <a:gd name="connsiteX139" fmla="*/ 26827 w 493150"/>
                <a:gd name="connsiteY139" fmla="*/ 0 h 70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493150" h="70201">
                  <a:moveTo>
                    <a:pt x="417473" y="7262"/>
                  </a:moveTo>
                  <a:cubicBezTo>
                    <a:pt x="410934" y="7262"/>
                    <a:pt x="407010" y="9683"/>
                    <a:pt x="405703" y="14525"/>
                  </a:cubicBezTo>
                  <a:cubicBezTo>
                    <a:pt x="401779" y="19366"/>
                    <a:pt x="400471" y="26628"/>
                    <a:pt x="400471" y="36311"/>
                  </a:cubicBezTo>
                  <a:cubicBezTo>
                    <a:pt x="400471" y="42363"/>
                    <a:pt x="401779" y="48414"/>
                    <a:pt x="403087" y="52046"/>
                  </a:cubicBezTo>
                  <a:cubicBezTo>
                    <a:pt x="405703" y="59308"/>
                    <a:pt x="410934" y="61728"/>
                    <a:pt x="416166" y="61728"/>
                  </a:cubicBezTo>
                  <a:cubicBezTo>
                    <a:pt x="421397" y="61728"/>
                    <a:pt x="425321" y="60518"/>
                    <a:pt x="429244" y="56887"/>
                  </a:cubicBezTo>
                  <a:cubicBezTo>
                    <a:pt x="431860" y="52046"/>
                    <a:pt x="433168" y="44783"/>
                    <a:pt x="433168" y="33890"/>
                  </a:cubicBezTo>
                  <a:cubicBezTo>
                    <a:pt x="433168" y="26628"/>
                    <a:pt x="431860" y="20576"/>
                    <a:pt x="430552" y="15735"/>
                  </a:cubicBezTo>
                  <a:cubicBezTo>
                    <a:pt x="427937" y="9683"/>
                    <a:pt x="424013" y="7262"/>
                    <a:pt x="417473" y="7262"/>
                  </a:cubicBezTo>
                  <a:close/>
                  <a:moveTo>
                    <a:pt x="357049" y="7262"/>
                  </a:moveTo>
                  <a:cubicBezTo>
                    <a:pt x="350806" y="7262"/>
                    <a:pt x="347061" y="9683"/>
                    <a:pt x="344564" y="14525"/>
                  </a:cubicBezTo>
                  <a:cubicBezTo>
                    <a:pt x="342067" y="19366"/>
                    <a:pt x="340819" y="26628"/>
                    <a:pt x="340819" y="36311"/>
                  </a:cubicBezTo>
                  <a:cubicBezTo>
                    <a:pt x="340819" y="42363"/>
                    <a:pt x="342067" y="48414"/>
                    <a:pt x="343316" y="52046"/>
                  </a:cubicBezTo>
                  <a:cubicBezTo>
                    <a:pt x="345813" y="59308"/>
                    <a:pt x="349558" y="61728"/>
                    <a:pt x="355800" y="61728"/>
                  </a:cubicBezTo>
                  <a:cubicBezTo>
                    <a:pt x="362042" y="61728"/>
                    <a:pt x="365788" y="60518"/>
                    <a:pt x="368284" y="56887"/>
                  </a:cubicBezTo>
                  <a:cubicBezTo>
                    <a:pt x="370781" y="52046"/>
                    <a:pt x="372030" y="44783"/>
                    <a:pt x="372030" y="33890"/>
                  </a:cubicBezTo>
                  <a:cubicBezTo>
                    <a:pt x="372030" y="26628"/>
                    <a:pt x="370781" y="20576"/>
                    <a:pt x="369533" y="15735"/>
                  </a:cubicBezTo>
                  <a:cubicBezTo>
                    <a:pt x="367036" y="9683"/>
                    <a:pt x="363291" y="7262"/>
                    <a:pt x="357049" y="7262"/>
                  </a:cubicBezTo>
                  <a:close/>
                  <a:moveTo>
                    <a:pt x="296627" y="7262"/>
                  </a:moveTo>
                  <a:cubicBezTo>
                    <a:pt x="290087" y="7262"/>
                    <a:pt x="286163" y="9683"/>
                    <a:pt x="283548" y="14525"/>
                  </a:cubicBezTo>
                  <a:cubicBezTo>
                    <a:pt x="280932" y="19366"/>
                    <a:pt x="279624" y="26628"/>
                    <a:pt x="279624" y="36311"/>
                  </a:cubicBezTo>
                  <a:cubicBezTo>
                    <a:pt x="279624" y="42363"/>
                    <a:pt x="279624" y="48414"/>
                    <a:pt x="282240" y="52046"/>
                  </a:cubicBezTo>
                  <a:cubicBezTo>
                    <a:pt x="284856" y="59308"/>
                    <a:pt x="290087" y="61728"/>
                    <a:pt x="296627" y="61728"/>
                  </a:cubicBezTo>
                  <a:cubicBezTo>
                    <a:pt x="300550" y="61728"/>
                    <a:pt x="304474" y="60518"/>
                    <a:pt x="308397" y="56887"/>
                  </a:cubicBezTo>
                  <a:cubicBezTo>
                    <a:pt x="311013" y="52046"/>
                    <a:pt x="312321" y="44783"/>
                    <a:pt x="312321" y="33890"/>
                  </a:cubicBezTo>
                  <a:cubicBezTo>
                    <a:pt x="312321" y="26628"/>
                    <a:pt x="311013" y="20576"/>
                    <a:pt x="309705" y="15735"/>
                  </a:cubicBezTo>
                  <a:cubicBezTo>
                    <a:pt x="307090" y="9683"/>
                    <a:pt x="301858" y="7262"/>
                    <a:pt x="296627" y="7262"/>
                  </a:cubicBezTo>
                  <a:close/>
                  <a:moveTo>
                    <a:pt x="208739" y="7262"/>
                  </a:moveTo>
                  <a:cubicBezTo>
                    <a:pt x="202199" y="7262"/>
                    <a:pt x="198275" y="9683"/>
                    <a:pt x="194352" y="14525"/>
                  </a:cubicBezTo>
                  <a:cubicBezTo>
                    <a:pt x="193044" y="19366"/>
                    <a:pt x="191736" y="26628"/>
                    <a:pt x="191736" y="36311"/>
                  </a:cubicBezTo>
                  <a:cubicBezTo>
                    <a:pt x="191736" y="42363"/>
                    <a:pt x="191736" y="48414"/>
                    <a:pt x="194352" y="52046"/>
                  </a:cubicBezTo>
                  <a:cubicBezTo>
                    <a:pt x="196968" y="59308"/>
                    <a:pt x="200891" y="61728"/>
                    <a:pt x="207431" y="61728"/>
                  </a:cubicBezTo>
                  <a:cubicBezTo>
                    <a:pt x="212662" y="61728"/>
                    <a:pt x="216586" y="60518"/>
                    <a:pt x="220509" y="56887"/>
                  </a:cubicBezTo>
                  <a:cubicBezTo>
                    <a:pt x="223125" y="52046"/>
                    <a:pt x="224433" y="44783"/>
                    <a:pt x="224433" y="33890"/>
                  </a:cubicBezTo>
                  <a:cubicBezTo>
                    <a:pt x="224433" y="26628"/>
                    <a:pt x="223125" y="20576"/>
                    <a:pt x="221817" y="15735"/>
                  </a:cubicBezTo>
                  <a:cubicBezTo>
                    <a:pt x="219202" y="9683"/>
                    <a:pt x="215278" y="7262"/>
                    <a:pt x="208739" y="7262"/>
                  </a:cubicBezTo>
                  <a:close/>
                  <a:moveTo>
                    <a:pt x="148951" y="7262"/>
                  </a:moveTo>
                  <a:cubicBezTo>
                    <a:pt x="142564" y="7262"/>
                    <a:pt x="138732" y="9683"/>
                    <a:pt x="136177" y="14525"/>
                  </a:cubicBezTo>
                  <a:cubicBezTo>
                    <a:pt x="133622" y="19366"/>
                    <a:pt x="132344" y="26628"/>
                    <a:pt x="132344" y="36311"/>
                  </a:cubicBezTo>
                  <a:cubicBezTo>
                    <a:pt x="132344" y="42363"/>
                    <a:pt x="133622" y="48414"/>
                    <a:pt x="134899" y="52046"/>
                  </a:cubicBezTo>
                  <a:cubicBezTo>
                    <a:pt x="136177" y="59308"/>
                    <a:pt x="141286" y="61728"/>
                    <a:pt x="147674" y="61728"/>
                  </a:cubicBezTo>
                  <a:cubicBezTo>
                    <a:pt x="152784" y="61728"/>
                    <a:pt x="156616" y="60518"/>
                    <a:pt x="159171" y="56887"/>
                  </a:cubicBezTo>
                  <a:cubicBezTo>
                    <a:pt x="163003" y="52046"/>
                    <a:pt x="164281" y="44783"/>
                    <a:pt x="164281" y="33890"/>
                  </a:cubicBezTo>
                  <a:cubicBezTo>
                    <a:pt x="164281" y="26628"/>
                    <a:pt x="163003" y="20576"/>
                    <a:pt x="160448" y="15735"/>
                  </a:cubicBezTo>
                  <a:cubicBezTo>
                    <a:pt x="159171" y="9683"/>
                    <a:pt x="155339" y="7262"/>
                    <a:pt x="148951" y="7262"/>
                  </a:cubicBezTo>
                  <a:close/>
                  <a:moveTo>
                    <a:pt x="86584" y="7262"/>
                  </a:moveTo>
                  <a:cubicBezTo>
                    <a:pt x="81352" y="7262"/>
                    <a:pt x="77428" y="9683"/>
                    <a:pt x="74813" y="14525"/>
                  </a:cubicBezTo>
                  <a:cubicBezTo>
                    <a:pt x="72197" y="19366"/>
                    <a:pt x="70889" y="26628"/>
                    <a:pt x="70889" y="36311"/>
                  </a:cubicBezTo>
                  <a:cubicBezTo>
                    <a:pt x="70889" y="42363"/>
                    <a:pt x="70889" y="48414"/>
                    <a:pt x="72197" y="52046"/>
                  </a:cubicBezTo>
                  <a:cubicBezTo>
                    <a:pt x="76121" y="59308"/>
                    <a:pt x="80044" y="61728"/>
                    <a:pt x="86584" y="61728"/>
                  </a:cubicBezTo>
                  <a:cubicBezTo>
                    <a:pt x="91815" y="61728"/>
                    <a:pt x="95739" y="60518"/>
                    <a:pt x="99662" y="56887"/>
                  </a:cubicBezTo>
                  <a:cubicBezTo>
                    <a:pt x="102278" y="52046"/>
                    <a:pt x="103586" y="44783"/>
                    <a:pt x="103586" y="33890"/>
                  </a:cubicBezTo>
                  <a:cubicBezTo>
                    <a:pt x="103586" y="26628"/>
                    <a:pt x="102278" y="20576"/>
                    <a:pt x="99662" y="15735"/>
                  </a:cubicBezTo>
                  <a:cubicBezTo>
                    <a:pt x="98355" y="9683"/>
                    <a:pt x="93123" y="7262"/>
                    <a:pt x="86584" y="7262"/>
                  </a:cubicBezTo>
                  <a:close/>
                  <a:moveTo>
                    <a:pt x="28104" y="7262"/>
                  </a:moveTo>
                  <a:cubicBezTo>
                    <a:pt x="21717" y="7262"/>
                    <a:pt x="17885" y="9683"/>
                    <a:pt x="15330" y="14525"/>
                  </a:cubicBezTo>
                  <a:cubicBezTo>
                    <a:pt x="12775" y="19366"/>
                    <a:pt x="11497" y="26628"/>
                    <a:pt x="11497" y="36311"/>
                  </a:cubicBezTo>
                  <a:cubicBezTo>
                    <a:pt x="11497" y="42363"/>
                    <a:pt x="12775" y="48414"/>
                    <a:pt x="14052" y="52046"/>
                  </a:cubicBezTo>
                  <a:cubicBezTo>
                    <a:pt x="15330" y="59308"/>
                    <a:pt x="20439" y="61728"/>
                    <a:pt x="26827" y="61728"/>
                  </a:cubicBezTo>
                  <a:cubicBezTo>
                    <a:pt x="31937" y="61728"/>
                    <a:pt x="35769" y="60518"/>
                    <a:pt x="38324" y="56887"/>
                  </a:cubicBezTo>
                  <a:cubicBezTo>
                    <a:pt x="42156" y="52046"/>
                    <a:pt x="43434" y="44783"/>
                    <a:pt x="43434" y="33890"/>
                  </a:cubicBezTo>
                  <a:cubicBezTo>
                    <a:pt x="43434" y="26628"/>
                    <a:pt x="42156" y="20576"/>
                    <a:pt x="40879" y="15735"/>
                  </a:cubicBezTo>
                  <a:cubicBezTo>
                    <a:pt x="38324" y="9683"/>
                    <a:pt x="34492" y="7262"/>
                    <a:pt x="28104" y="7262"/>
                  </a:cubicBezTo>
                  <a:close/>
                  <a:moveTo>
                    <a:pt x="476061" y="0"/>
                  </a:moveTo>
                  <a:cubicBezTo>
                    <a:pt x="483385" y="0"/>
                    <a:pt x="489488" y="2506"/>
                    <a:pt x="493150" y="7517"/>
                  </a:cubicBezTo>
                  <a:lnTo>
                    <a:pt x="488268" y="17540"/>
                  </a:lnTo>
                  <a:lnTo>
                    <a:pt x="488268" y="16287"/>
                  </a:lnTo>
                  <a:cubicBezTo>
                    <a:pt x="485826" y="10023"/>
                    <a:pt x="482164" y="7517"/>
                    <a:pt x="476061" y="7517"/>
                  </a:cubicBezTo>
                  <a:cubicBezTo>
                    <a:pt x="471178" y="7517"/>
                    <a:pt x="467516" y="10023"/>
                    <a:pt x="463854" y="15034"/>
                  </a:cubicBezTo>
                  <a:cubicBezTo>
                    <a:pt x="461412" y="20045"/>
                    <a:pt x="460192" y="27562"/>
                    <a:pt x="460192" y="37585"/>
                  </a:cubicBezTo>
                  <a:cubicBezTo>
                    <a:pt x="460192" y="43849"/>
                    <a:pt x="461412" y="50113"/>
                    <a:pt x="462633" y="53872"/>
                  </a:cubicBezTo>
                  <a:cubicBezTo>
                    <a:pt x="463854" y="57630"/>
                    <a:pt x="466295" y="60136"/>
                    <a:pt x="468736" y="62641"/>
                  </a:cubicBezTo>
                  <a:lnTo>
                    <a:pt x="465074" y="70158"/>
                  </a:lnTo>
                  <a:cubicBezTo>
                    <a:pt x="461412" y="67653"/>
                    <a:pt x="457750" y="65147"/>
                    <a:pt x="455309" y="61389"/>
                  </a:cubicBezTo>
                  <a:cubicBezTo>
                    <a:pt x="451647" y="55125"/>
                    <a:pt x="450426" y="47608"/>
                    <a:pt x="450426" y="36332"/>
                  </a:cubicBezTo>
                  <a:cubicBezTo>
                    <a:pt x="450426" y="28815"/>
                    <a:pt x="451647" y="21298"/>
                    <a:pt x="454088" y="16287"/>
                  </a:cubicBezTo>
                  <a:cubicBezTo>
                    <a:pt x="457750" y="5012"/>
                    <a:pt x="465074" y="0"/>
                    <a:pt x="476061" y="0"/>
                  </a:cubicBezTo>
                  <a:close/>
                  <a:moveTo>
                    <a:pt x="416166" y="0"/>
                  </a:moveTo>
                  <a:cubicBezTo>
                    <a:pt x="427937" y="0"/>
                    <a:pt x="434476" y="3631"/>
                    <a:pt x="439707" y="10893"/>
                  </a:cubicBezTo>
                  <a:cubicBezTo>
                    <a:pt x="442323" y="16945"/>
                    <a:pt x="443631" y="24207"/>
                    <a:pt x="443631" y="33890"/>
                  </a:cubicBezTo>
                  <a:cubicBezTo>
                    <a:pt x="443631" y="43573"/>
                    <a:pt x="442323" y="50835"/>
                    <a:pt x="439707" y="56887"/>
                  </a:cubicBezTo>
                  <a:cubicBezTo>
                    <a:pt x="434476" y="65359"/>
                    <a:pt x="427937" y="70201"/>
                    <a:pt x="416166" y="70201"/>
                  </a:cubicBezTo>
                  <a:cubicBezTo>
                    <a:pt x="407010" y="70201"/>
                    <a:pt x="400471" y="66570"/>
                    <a:pt x="395240" y="59308"/>
                  </a:cubicBezTo>
                  <a:cubicBezTo>
                    <a:pt x="391316" y="53256"/>
                    <a:pt x="390008" y="45994"/>
                    <a:pt x="390008" y="35101"/>
                  </a:cubicBezTo>
                  <a:cubicBezTo>
                    <a:pt x="390008" y="27838"/>
                    <a:pt x="391316" y="20576"/>
                    <a:pt x="392624" y="15735"/>
                  </a:cubicBezTo>
                  <a:cubicBezTo>
                    <a:pt x="397855" y="4842"/>
                    <a:pt x="405703" y="0"/>
                    <a:pt x="416166" y="0"/>
                  </a:cubicBezTo>
                  <a:close/>
                  <a:moveTo>
                    <a:pt x="355800" y="0"/>
                  </a:moveTo>
                  <a:cubicBezTo>
                    <a:pt x="365788" y="0"/>
                    <a:pt x="373278" y="3631"/>
                    <a:pt x="377023" y="10893"/>
                  </a:cubicBezTo>
                  <a:cubicBezTo>
                    <a:pt x="380769" y="16945"/>
                    <a:pt x="383266" y="24207"/>
                    <a:pt x="383266" y="33890"/>
                  </a:cubicBezTo>
                  <a:cubicBezTo>
                    <a:pt x="383266" y="43573"/>
                    <a:pt x="380769" y="50835"/>
                    <a:pt x="378272" y="56887"/>
                  </a:cubicBezTo>
                  <a:cubicBezTo>
                    <a:pt x="373278" y="65359"/>
                    <a:pt x="365788" y="70201"/>
                    <a:pt x="355800" y="70201"/>
                  </a:cubicBezTo>
                  <a:cubicBezTo>
                    <a:pt x="347061" y="70201"/>
                    <a:pt x="340819" y="66570"/>
                    <a:pt x="335825" y="59308"/>
                  </a:cubicBezTo>
                  <a:cubicBezTo>
                    <a:pt x="332080" y="53256"/>
                    <a:pt x="329583" y="45994"/>
                    <a:pt x="329583" y="35101"/>
                  </a:cubicBezTo>
                  <a:cubicBezTo>
                    <a:pt x="329583" y="27838"/>
                    <a:pt x="332080" y="20576"/>
                    <a:pt x="334577" y="15735"/>
                  </a:cubicBezTo>
                  <a:cubicBezTo>
                    <a:pt x="337074" y="4842"/>
                    <a:pt x="345813" y="0"/>
                    <a:pt x="355800" y="0"/>
                  </a:cubicBezTo>
                  <a:close/>
                  <a:moveTo>
                    <a:pt x="296627" y="0"/>
                  </a:moveTo>
                  <a:cubicBezTo>
                    <a:pt x="305782" y="0"/>
                    <a:pt x="313629" y="3631"/>
                    <a:pt x="317553" y="10893"/>
                  </a:cubicBezTo>
                  <a:cubicBezTo>
                    <a:pt x="321476" y="16945"/>
                    <a:pt x="322784" y="24207"/>
                    <a:pt x="322784" y="33890"/>
                  </a:cubicBezTo>
                  <a:cubicBezTo>
                    <a:pt x="322784" y="43573"/>
                    <a:pt x="321476" y="50835"/>
                    <a:pt x="318860" y="56887"/>
                  </a:cubicBezTo>
                  <a:cubicBezTo>
                    <a:pt x="313629" y="65359"/>
                    <a:pt x="307090" y="70201"/>
                    <a:pt x="296627" y="70201"/>
                  </a:cubicBezTo>
                  <a:cubicBezTo>
                    <a:pt x="286163" y="70201"/>
                    <a:pt x="279624" y="66570"/>
                    <a:pt x="274393" y="59308"/>
                  </a:cubicBezTo>
                  <a:cubicBezTo>
                    <a:pt x="270469" y="53256"/>
                    <a:pt x="269161" y="45994"/>
                    <a:pt x="269161" y="35101"/>
                  </a:cubicBezTo>
                  <a:cubicBezTo>
                    <a:pt x="269161" y="27838"/>
                    <a:pt x="269161" y="20576"/>
                    <a:pt x="271777" y="15735"/>
                  </a:cubicBezTo>
                  <a:cubicBezTo>
                    <a:pt x="277008" y="4842"/>
                    <a:pt x="283548" y="0"/>
                    <a:pt x="296627" y="0"/>
                  </a:cubicBezTo>
                  <a:close/>
                  <a:moveTo>
                    <a:pt x="207431" y="0"/>
                  </a:moveTo>
                  <a:cubicBezTo>
                    <a:pt x="217894" y="0"/>
                    <a:pt x="225741" y="3631"/>
                    <a:pt x="230972" y="10893"/>
                  </a:cubicBezTo>
                  <a:cubicBezTo>
                    <a:pt x="233588" y="16945"/>
                    <a:pt x="234896" y="24207"/>
                    <a:pt x="234896" y="33890"/>
                  </a:cubicBezTo>
                  <a:cubicBezTo>
                    <a:pt x="234896" y="43573"/>
                    <a:pt x="233588" y="50835"/>
                    <a:pt x="230972" y="56887"/>
                  </a:cubicBezTo>
                  <a:cubicBezTo>
                    <a:pt x="225741" y="65359"/>
                    <a:pt x="217894" y="70201"/>
                    <a:pt x="207431" y="70201"/>
                  </a:cubicBezTo>
                  <a:cubicBezTo>
                    <a:pt x="198275" y="70201"/>
                    <a:pt x="191736" y="66570"/>
                    <a:pt x="186505" y="59308"/>
                  </a:cubicBezTo>
                  <a:cubicBezTo>
                    <a:pt x="182581" y="53256"/>
                    <a:pt x="181273" y="45994"/>
                    <a:pt x="181273" y="35101"/>
                  </a:cubicBezTo>
                  <a:cubicBezTo>
                    <a:pt x="181273" y="27838"/>
                    <a:pt x="181273" y="20576"/>
                    <a:pt x="183889" y="15735"/>
                  </a:cubicBezTo>
                  <a:cubicBezTo>
                    <a:pt x="189120" y="4842"/>
                    <a:pt x="196968" y="0"/>
                    <a:pt x="207431" y="0"/>
                  </a:cubicBezTo>
                  <a:close/>
                  <a:moveTo>
                    <a:pt x="147674" y="0"/>
                  </a:moveTo>
                  <a:cubicBezTo>
                    <a:pt x="157893" y="0"/>
                    <a:pt x="165558" y="3631"/>
                    <a:pt x="169391" y="10893"/>
                  </a:cubicBezTo>
                  <a:cubicBezTo>
                    <a:pt x="173223" y="16945"/>
                    <a:pt x="174501" y="24207"/>
                    <a:pt x="174501" y="33890"/>
                  </a:cubicBezTo>
                  <a:cubicBezTo>
                    <a:pt x="174501" y="43573"/>
                    <a:pt x="173223" y="50835"/>
                    <a:pt x="170668" y="56887"/>
                  </a:cubicBezTo>
                  <a:cubicBezTo>
                    <a:pt x="165558" y="65359"/>
                    <a:pt x="157893" y="70201"/>
                    <a:pt x="147674" y="70201"/>
                  </a:cubicBezTo>
                  <a:cubicBezTo>
                    <a:pt x="138732" y="70201"/>
                    <a:pt x="131067" y="66570"/>
                    <a:pt x="127234" y="59308"/>
                  </a:cubicBezTo>
                  <a:cubicBezTo>
                    <a:pt x="123402" y="53256"/>
                    <a:pt x="120847" y="45994"/>
                    <a:pt x="120847" y="35101"/>
                  </a:cubicBezTo>
                  <a:cubicBezTo>
                    <a:pt x="120847" y="27838"/>
                    <a:pt x="122124" y="20576"/>
                    <a:pt x="124679" y="15735"/>
                  </a:cubicBezTo>
                  <a:cubicBezTo>
                    <a:pt x="128512" y="4842"/>
                    <a:pt x="136177" y="0"/>
                    <a:pt x="147674" y="0"/>
                  </a:cubicBezTo>
                  <a:close/>
                  <a:moveTo>
                    <a:pt x="86584" y="0"/>
                  </a:moveTo>
                  <a:cubicBezTo>
                    <a:pt x="97047" y="0"/>
                    <a:pt x="104894" y="3631"/>
                    <a:pt x="108818" y="10893"/>
                  </a:cubicBezTo>
                  <a:cubicBezTo>
                    <a:pt x="112741" y="16945"/>
                    <a:pt x="114049" y="24207"/>
                    <a:pt x="114049" y="33890"/>
                  </a:cubicBezTo>
                  <a:cubicBezTo>
                    <a:pt x="114049" y="43573"/>
                    <a:pt x="112741" y="50835"/>
                    <a:pt x="108818" y="56887"/>
                  </a:cubicBezTo>
                  <a:cubicBezTo>
                    <a:pt x="104894" y="65359"/>
                    <a:pt x="97047" y="70201"/>
                    <a:pt x="86584" y="70201"/>
                  </a:cubicBezTo>
                  <a:cubicBezTo>
                    <a:pt x="77428" y="70201"/>
                    <a:pt x="70889" y="66570"/>
                    <a:pt x="65658" y="59308"/>
                  </a:cubicBezTo>
                  <a:cubicBezTo>
                    <a:pt x="61734" y="53256"/>
                    <a:pt x="60426" y="45994"/>
                    <a:pt x="60426" y="35101"/>
                  </a:cubicBezTo>
                  <a:cubicBezTo>
                    <a:pt x="60426" y="27838"/>
                    <a:pt x="60426" y="20576"/>
                    <a:pt x="63042" y="15735"/>
                  </a:cubicBezTo>
                  <a:cubicBezTo>
                    <a:pt x="68273" y="4842"/>
                    <a:pt x="74813" y="0"/>
                    <a:pt x="86584" y="0"/>
                  </a:cubicBezTo>
                  <a:close/>
                  <a:moveTo>
                    <a:pt x="26827" y="0"/>
                  </a:moveTo>
                  <a:cubicBezTo>
                    <a:pt x="37046" y="0"/>
                    <a:pt x="43434" y="3631"/>
                    <a:pt x="48544" y="10893"/>
                  </a:cubicBezTo>
                  <a:cubicBezTo>
                    <a:pt x="51099" y="16945"/>
                    <a:pt x="53654" y="24207"/>
                    <a:pt x="53654" y="33890"/>
                  </a:cubicBezTo>
                  <a:cubicBezTo>
                    <a:pt x="53654" y="43573"/>
                    <a:pt x="51099" y="50835"/>
                    <a:pt x="48544" y="56887"/>
                  </a:cubicBezTo>
                  <a:cubicBezTo>
                    <a:pt x="44711" y="65359"/>
                    <a:pt x="37046" y="70201"/>
                    <a:pt x="26827" y="70201"/>
                  </a:cubicBezTo>
                  <a:cubicBezTo>
                    <a:pt x="17885" y="70201"/>
                    <a:pt x="10220" y="66570"/>
                    <a:pt x="6387" y="59308"/>
                  </a:cubicBezTo>
                  <a:cubicBezTo>
                    <a:pt x="2555" y="53256"/>
                    <a:pt x="0" y="45994"/>
                    <a:pt x="0" y="35101"/>
                  </a:cubicBezTo>
                  <a:cubicBezTo>
                    <a:pt x="0" y="27838"/>
                    <a:pt x="1277" y="20576"/>
                    <a:pt x="3832" y="15735"/>
                  </a:cubicBezTo>
                  <a:cubicBezTo>
                    <a:pt x="7665" y="4842"/>
                    <a:pt x="15330" y="0"/>
                    <a:pt x="268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6" name="Freeform 56">
              <a:extLst>
                <a:ext uri="{FF2B5EF4-FFF2-40B4-BE49-F238E27FC236}">
                  <a16:creationId xmlns:a16="http://schemas.microsoft.com/office/drawing/2014/main" id="{07465ECA-25F1-3B5E-A60A-A2C6791767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22728" y="7717657"/>
              <a:ext cx="523538" cy="96709"/>
            </a:xfrm>
            <a:custGeom>
              <a:avLst/>
              <a:gdLst>
                <a:gd name="connsiteX0" fmla="*/ 484536 w 498589"/>
                <a:gd name="connsiteY0" fmla="*/ 43753 h 92100"/>
                <a:gd name="connsiteX1" fmla="*/ 484536 w 498589"/>
                <a:gd name="connsiteY1" fmla="*/ 45681 h 92100"/>
                <a:gd name="connsiteX2" fmla="*/ 483735 w 498589"/>
                <a:gd name="connsiteY2" fmla="*/ 44169 h 92100"/>
                <a:gd name="connsiteX3" fmla="*/ 478149 w 498589"/>
                <a:gd name="connsiteY3" fmla="*/ 38449 h 92100"/>
                <a:gd name="connsiteX4" fmla="*/ 480704 w 498589"/>
                <a:gd name="connsiteY4" fmla="*/ 38449 h 92100"/>
                <a:gd name="connsiteX5" fmla="*/ 483735 w 498589"/>
                <a:gd name="connsiteY5" fmla="*/ 44169 h 92100"/>
                <a:gd name="connsiteX6" fmla="*/ 479427 w 498589"/>
                <a:gd name="connsiteY6" fmla="*/ 46405 h 92100"/>
                <a:gd name="connsiteX7" fmla="*/ 474317 w 498589"/>
                <a:gd name="connsiteY7" fmla="*/ 47731 h 92100"/>
                <a:gd name="connsiteX8" fmla="*/ 467929 w 498589"/>
                <a:gd name="connsiteY8" fmla="*/ 47731 h 92100"/>
                <a:gd name="connsiteX9" fmla="*/ 460265 w 498589"/>
                <a:gd name="connsiteY9" fmla="*/ 50383 h 92100"/>
                <a:gd name="connsiteX10" fmla="*/ 455155 w 498589"/>
                <a:gd name="connsiteY10" fmla="*/ 58339 h 92100"/>
                <a:gd name="connsiteX11" fmla="*/ 458987 w 498589"/>
                <a:gd name="connsiteY11" fmla="*/ 64969 h 92100"/>
                <a:gd name="connsiteX12" fmla="*/ 466652 w 498589"/>
                <a:gd name="connsiteY12" fmla="*/ 67620 h 92100"/>
                <a:gd name="connsiteX13" fmla="*/ 475594 w 498589"/>
                <a:gd name="connsiteY13" fmla="*/ 64969 h 92100"/>
                <a:gd name="connsiteX14" fmla="*/ 484536 w 498589"/>
                <a:gd name="connsiteY14" fmla="*/ 53035 h 92100"/>
                <a:gd name="connsiteX15" fmla="*/ 484536 w 498589"/>
                <a:gd name="connsiteY15" fmla="*/ 45681 h 92100"/>
                <a:gd name="connsiteX16" fmla="*/ 494756 w 498589"/>
                <a:gd name="connsiteY16" fmla="*/ 64969 h 92100"/>
                <a:gd name="connsiteX17" fmla="*/ 498589 w 498589"/>
                <a:gd name="connsiteY17" fmla="*/ 72924 h 92100"/>
                <a:gd name="connsiteX18" fmla="*/ 497311 w 498589"/>
                <a:gd name="connsiteY18" fmla="*/ 74250 h 92100"/>
                <a:gd name="connsiteX19" fmla="*/ 493479 w 498589"/>
                <a:gd name="connsiteY19" fmla="*/ 74250 h 92100"/>
                <a:gd name="connsiteX20" fmla="*/ 485814 w 498589"/>
                <a:gd name="connsiteY20" fmla="*/ 70272 h 92100"/>
                <a:gd name="connsiteX21" fmla="*/ 484536 w 498589"/>
                <a:gd name="connsiteY21" fmla="*/ 64969 h 92100"/>
                <a:gd name="connsiteX22" fmla="*/ 475594 w 498589"/>
                <a:gd name="connsiteY22" fmla="*/ 71598 h 92100"/>
                <a:gd name="connsiteX23" fmla="*/ 464097 w 498589"/>
                <a:gd name="connsiteY23" fmla="*/ 75576 h 92100"/>
                <a:gd name="connsiteX24" fmla="*/ 450045 w 498589"/>
                <a:gd name="connsiteY24" fmla="*/ 70272 h 92100"/>
                <a:gd name="connsiteX25" fmla="*/ 444935 w 498589"/>
                <a:gd name="connsiteY25" fmla="*/ 58339 h 92100"/>
                <a:gd name="connsiteX26" fmla="*/ 450045 w 498589"/>
                <a:gd name="connsiteY26" fmla="*/ 46405 h 92100"/>
                <a:gd name="connsiteX27" fmla="*/ 464097 w 498589"/>
                <a:gd name="connsiteY27" fmla="*/ 41101 h 92100"/>
                <a:gd name="connsiteX28" fmla="*/ 212921 w 498589"/>
                <a:gd name="connsiteY28" fmla="*/ 23643 h 92100"/>
                <a:gd name="connsiteX29" fmla="*/ 202458 w 498589"/>
                <a:gd name="connsiteY29" fmla="*/ 28420 h 92100"/>
                <a:gd name="connsiteX30" fmla="*/ 197226 w 498589"/>
                <a:gd name="connsiteY30" fmla="*/ 37973 h 92100"/>
                <a:gd name="connsiteX31" fmla="*/ 229923 w 498589"/>
                <a:gd name="connsiteY31" fmla="*/ 37973 h 92100"/>
                <a:gd name="connsiteX32" fmla="*/ 227307 w 498589"/>
                <a:gd name="connsiteY32" fmla="*/ 29614 h 92100"/>
                <a:gd name="connsiteX33" fmla="*/ 212921 w 498589"/>
                <a:gd name="connsiteY33" fmla="*/ 23643 h 92100"/>
                <a:gd name="connsiteX34" fmla="*/ 471651 w 498589"/>
                <a:gd name="connsiteY34" fmla="*/ 16478 h 92100"/>
                <a:gd name="connsiteX35" fmla="*/ 476645 w 498589"/>
                <a:gd name="connsiteY35" fmla="*/ 23542 h 92100"/>
                <a:gd name="connsiteX36" fmla="*/ 471651 w 498589"/>
                <a:gd name="connsiteY36" fmla="*/ 23542 h 92100"/>
                <a:gd name="connsiteX37" fmla="*/ 461665 w 498589"/>
                <a:gd name="connsiteY37" fmla="*/ 25896 h 92100"/>
                <a:gd name="connsiteX38" fmla="*/ 459168 w 498589"/>
                <a:gd name="connsiteY38" fmla="*/ 31782 h 92100"/>
                <a:gd name="connsiteX39" fmla="*/ 450430 w 498589"/>
                <a:gd name="connsiteY39" fmla="*/ 31782 h 92100"/>
                <a:gd name="connsiteX40" fmla="*/ 456672 w 498589"/>
                <a:gd name="connsiteY40" fmla="*/ 20010 h 92100"/>
                <a:gd name="connsiteX41" fmla="*/ 471651 w 498589"/>
                <a:gd name="connsiteY41" fmla="*/ 16478 h 92100"/>
                <a:gd name="connsiteX42" fmla="*/ 269158 w 498589"/>
                <a:gd name="connsiteY42" fmla="*/ 16478 h 92100"/>
                <a:gd name="connsiteX43" fmla="*/ 280929 w 498589"/>
                <a:gd name="connsiteY43" fmla="*/ 16478 h 92100"/>
                <a:gd name="connsiteX44" fmla="*/ 295316 w 498589"/>
                <a:gd name="connsiteY44" fmla="*/ 60057 h 92100"/>
                <a:gd name="connsiteX45" fmla="*/ 312318 w 498589"/>
                <a:gd name="connsiteY45" fmla="*/ 16478 h 92100"/>
                <a:gd name="connsiteX46" fmla="*/ 322781 w 498589"/>
                <a:gd name="connsiteY46" fmla="*/ 16478 h 92100"/>
                <a:gd name="connsiteX47" fmla="*/ 313626 w 498589"/>
                <a:gd name="connsiteY47" fmla="*/ 39549 h 92100"/>
                <a:gd name="connsiteX48" fmla="*/ 304471 w 498589"/>
                <a:gd name="connsiteY48" fmla="*/ 62620 h 92100"/>
                <a:gd name="connsiteX49" fmla="*/ 292700 w 498589"/>
                <a:gd name="connsiteY49" fmla="*/ 88254 h 92100"/>
                <a:gd name="connsiteX50" fmla="*/ 280929 w 498589"/>
                <a:gd name="connsiteY50" fmla="*/ 92100 h 92100"/>
                <a:gd name="connsiteX51" fmla="*/ 277005 w 498589"/>
                <a:gd name="connsiteY51" fmla="*/ 92100 h 92100"/>
                <a:gd name="connsiteX52" fmla="*/ 274390 w 498589"/>
                <a:gd name="connsiteY52" fmla="*/ 92100 h 92100"/>
                <a:gd name="connsiteX53" fmla="*/ 274390 w 498589"/>
                <a:gd name="connsiteY53" fmla="*/ 83128 h 92100"/>
                <a:gd name="connsiteX54" fmla="*/ 278313 w 498589"/>
                <a:gd name="connsiteY54" fmla="*/ 84409 h 92100"/>
                <a:gd name="connsiteX55" fmla="*/ 279621 w 498589"/>
                <a:gd name="connsiteY55" fmla="*/ 84409 h 92100"/>
                <a:gd name="connsiteX56" fmla="*/ 284853 w 498589"/>
                <a:gd name="connsiteY56" fmla="*/ 83128 h 92100"/>
                <a:gd name="connsiteX57" fmla="*/ 286160 w 498589"/>
                <a:gd name="connsiteY57" fmla="*/ 81846 h 92100"/>
                <a:gd name="connsiteX58" fmla="*/ 288776 w 498589"/>
                <a:gd name="connsiteY58" fmla="*/ 76719 h 92100"/>
                <a:gd name="connsiteX59" fmla="*/ 291392 w 498589"/>
                <a:gd name="connsiteY59" fmla="*/ 71592 h 92100"/>
                <a:gd name="connsiteX60" fmla="*/ 214228 w 498589"/>
                <a:gd name="connsiteY60" fmla="*/ 16478 h 92100"/>
                <a:gd name="connsiteX61" fmla="*/ 225999 w 498589"/>
                <a:gd name="connsiteY61" fmla="*/ 18867 h 92100"/>
                <a:gd name="connsiteX62" fmla="*/ 235155 w 498589"/>
                <a:gd name="connsiteY62" fmla="*/ 24837 h 92100"/>
                <a:gd name="connsiteX63" fmla="*/ 239078 w 498589"/>
                <a:gd name="connsiteY63" fmla="*/ 34391 h 92100"/>
                <a:gd name="connsiteX64" fmla="*/ 240386 w 498589"/>
                <a:gd name="connsiteY64" fmla="*/ 45138 h 92100"/>
                <a:gd name="connsiteX65" fmla="*/ 197226 w 498589"/>
                <a:gd name="connsiteY65" fmla="*/ 45138 h 92100"/>
                <a:gd name="connsiteX66" fmla="*/ 201150 w 498589"/>
                <a:gd name="connsiteY66" fmla="*/ 57079 h 92100"/>
                <a:gd name="connsiteX67" fmla="*/ 212921 w 498589"/>
                <a:gd name="connsiteY67" fmla="*/ 63050 h 92100"/>
                <a:gd name="connsiteX68" fmla="*/ 225999 w 498589"/>
                <a:gd name="connsiteY68" fmla="*/ 58274 h 92100"/>
                <a:gd name="connsiteX69" fmla="*/ 229923 w 498589"/>
                <a:gd name="connsiteY69" fmla="*/ 52303 h 92100"/>
                <a:gd name="connsiteX70" fmla="*/ 239078 w 498589"/>
                <a:gd name="connsiteY70" fmla="*/ 52303 h 92100"/>
                <a:gd name="connsiteX71" fmla="*/ 236462 w 498589"/>
                <a:gd name="connsiteY71" fmla="*/ 58274 h 92100"/>
                <a:gd name="connsiteX72" fmla="*/ 232539 w 498589"/>
                <a:gd name="connsiteY72" fmla="*/ 64244 h 92100"/>
                <a:gd name="connsiteX73" fmla="*/ 220768 w 498589"/>
                <a:gd name="connsiteY73" fmla="*/ 69021 h 92100"/>
                <a:gd name="connsiteX74" fmla="*/ 212921 w 498589"/>
                <a:gd name="connsiteY74" fmla="*/ 70215 h 92100"/>
                <a:gd name="connsiteX75" fmla="*/ 193302 w 498589"/>
                <a:gd name="connsiteY75" fmla="*/ 63050 h 92100"/>
                <a:gd name="connsiteX76" fmla="*/ 186763 w 498589"/>
                <a:gd name="connsiteY76" fmla="*/ 43944 h 92100"/>
                <a:gd name="connsiteX77" fmla="*/ 194610 w 498589"/>
                <a:gd name="connsiteY77" fmla="*/ 23643 h 92100"/>
                <a:gd name="connsiteX78" fmla="*/ 214228 w 498589"/>
                <a:gd name="connsiteY78" fmla="*/ 16478 h 92100"/>
                <a:gd name="connsiteX79" fmla="*/ 100987 w 498589"/>
                <a:gd name="connsiteY79" fmla="*/ 16478 h 92100"/>
                <a:gd name="connsiteX80" fmla="*/ 118733 w 498589"/>
                <a:gd name="connsiteY80" fmla="*/ 25478 h 92100"/>
                <a:gd name="connsiteX81" fmla="*/ 123804 w 498589"/>
                <a:gd name="connsiteY81" fmla="*/ 34477 h 92100"/>
                <a:gd name="connsiteX82" fmla="*/ 113663 w 498589"/>
                <a:gd name="connsiteY82" fmla="*/ 34477 h 92100"/>
                <a:gd name="connsiteX83" fmla="*/ 111128 w 498589"/>
                <a:gd name="connsiteY83" fmla="*/ 28049 h 92100"/>
                <a:gd name="connsiteX84" fmla="*/ 99720 w 498589"/>
                <a:gd name="connsiteY84" fmla="*/ 25478 h 92100"/>
                <a:gd name="connsiteX85" fmla="*/ 92114 w 498589"/>
                <a:gd name="connsiteY85" fmla="*/ 26763 h 92100"/>
                <a:gd name="connsiteX86" fmla="*/ 88311 w 498589"/>
                <a:gd name="connsiteY86" fmla="*/ 33192 h 92100"/>
                <a:gd name="connsiteX87" fmla="*/ 92114 w 498589"/>
                <a:gd name="connsiteY87" fmla="*/ 38334 h 92100"/>
                <a:gd name="connsiteX88" fmla="*/ 98452 w 498589"/>
                <a:gd name="connsiteY88" fmla="*/ 40905 h 92100"/>
                <a:gd name="connsiteX89" fmla="*/ 106058 w 498589"/>
                <a:gd name="connsiteY89" fmla="*/ 40905 h 92100"/>
                <a:gd name="connsiteX90" fmla="*/ 118733 w 498589"/>
                <a:gd name="connsiteY90" fmla="*/ 46048 h 92100"/>
                <a:gd name="connsiteX91" fmla="*/ 125071 w 498589"/>
                <a:gd name="connsiteY91" fmla="*/ 56333 h 92100"/>
                <a:gd name="connsiteX92" fmla="*/ 118733 w 498589"/>
                <a:gd name="connsiteY92" fmla="*/ 69189 h 92100"/>
                <a:gd name="connsiteX93" fmla="*/ 100987 w 498589"/>
                <a:gd name="connsiteY93" fmla="*/ 75618 h 92100"/>
                <a:gd name="connsiteX94" fmla="*/ 83241 w 498589"/>
                <a:gd name="connsiteY94" fmla="*/ 69189 h 92100"/>
                <a:gd name="connsiteX95" fmla="*/ 76903 w 498589"/>
                <a:gd name="connsiteY95" fmla="*/ 56333 h 92100"/>
                <a:gd name="connsiteX96" fmla="*/ 85776 w 498589"/>
                <a:gd name="connsiteY96" fmla="*/ 56333 h 92100"/>
                <a:gd name="connsiteX97" fmla="*/ 88311 w 498589"/>
                <a:gd name="connsiteY97" fmla="*/ 62761 h 92100"/>
                <a:gd name="connsiteX98" fmla="*/ 100987 w 498589"/>
                <a:gd name="connsiteY98" fmla="*/ 67904 h 92100"/>
                <a:gd name="connsiteX99" fmla="*/ 111128 w 498589"/>
                <a:gd name="connsiteY99" fmla="*/ 65333 h 92100"/>
                <a:gd name="connsiteX100" fmla="*/ 114931 w 498589"/>
                <a:gd name="connsiteY100" fmla="*/ 58904 h 92100"/>
                <a:gd name="connsiteX101" fmla="*/ 112396 w 498589"/>
                <a:gd name="connsiteY101" fmla="*/ 53762 h 92100"/>
                <a:gd name="connsiteX102" fmla="*/ 103522 w 498589"/>
                <a:gd name="connsiteY102" fmla="*/ 51190 h 92100"/>
                <a:gd name="connsiteX103" fmla="*/ 95917 w 498589"/>
                <a:gd name="connsiteY103" fmla="*/ 48619 h 92100"/>
                <a:gd name="connsiteX104" fmla="*/ 85776 w 498589"/>
                <a:gd name="connsiteY104" fmla="*/ 44762 h 92100"/>
                <a:gd name="connsiteX105" fmla="*/ 78171 w 498589"/>
                <a:gd name="connsiteY105" fmla="*/ 34477 h 92100"/>
                <a:gd name="connsiteX106" fmla="*/ 84509 w 498589"/>
                <a:gd name="connsiteY106" fmla="*/ 21621 h 92100"/>
                <a:gd name="connsiteX107" fmla="*/ 100987 w 498589"/>
                <a:gd name="connsiteY107" fmla="*/ 16478 h 92100"/>
                <a:gd name="connsiteX108" fmla="*/ 35704 w 498589"/>
                <a:gd name="connsiteY108" fmla="*/ 10893 h 92100"/>
                <a:gd name="connsiteX109" fmla="*/ 22953 w 498589"/>
                <a:gd name="connsiteY109" fmla="*/ 41151 h 92100"/>
                <a:gd name="connsiteX110" fmla="*/ 47180 w 498589"/>
                <a:gd name="connsiteY110" fmla="*/ 41151 h 92100"/>
                <a:gd name="connsiteX111" fmla="*/ 357046 w 498589"/>
                <a:gd name="connsiteY111" fmla="*/ 0 h 92100"/>
                <a:gd name="connsiteX112" fmla="*/ 373435 w 498589"/>
                <a:gd name="connsiteY112" fmla="*/ 0 h 92100"/>
                <a:gd name="connsiteX113" fmla="*/ 394867 w 498589"/>
                <a:gd name="connsiteY113" fmla="*/ 59305 h 92100"/>
                <a:gd name="connsiteX114" fmla="*/ 417560 w 498589"/>
                <a:gd name="connsiteY114" fmla="*/ 0 h 92100"/>
                <a:gd name="connsiteX115" fmla="*/ 432688 w 498589"/>
                <a:gd name="connsiteY115" fmla="*/ 0 h 92100"/>
                <a:gd name="connsiteX116" fmla="*/ 432688 w 498589"/>
                <a:gd name="connsiteY116" fmla="*/ 70198 h 92100"/>
                <a:gd name="connsiteX117" fmla="*/ 422603 w 498589"/>
                <a:gd name="connsiteY117" fmla="*/ 70198 h 92100"/>
                <a:gd name="connsiteX118" fmla="*/ 422603 w 498589"/>
                <a:gd name="connsiteY118" fmla="*/ 27837 h 92100"/>
                <a:gd name="connsiteX119" fmla="*/ 422603 w 498589"/>
                <a:gd name="connsiteY119" fmla="*/ 21786 h 92100"/>
                <a:gd name="connsiteX120" fmla="*/ 422603 w 498589"/>
                <a:gd name="connsiteY120" fmla="*/ 10893 h 92100"/>
                <a:gd name="connsiteX121" fmla="*/ 399910 w 498589"/>
                <a:gd name="connsiteY121" fmla="*/ 70198 h 92100"/>
                <a:gd name="connsiteX122" fmla="*/ 389824 w 498589"/>
                <a:gd name="connsiteY122" fmla="*/ 70198 h 92100"/>
                <a:gd name="connsiteX123" fmla="*/ 367132 w 498589"/>
                <a:gd name="connsiteY123" fmla="*/ 10893 h 92100"/>
                <a:gd name="connsiteX124" fmla="*/ 367132 w 498589"/>
                <a:gd name="connsiteY124" fmla="*/ 13314 h 92100"/>
                <a:gd name="connsiteX125" fmla="*/ 367132 w 498589"/>
                <a:gd name="connsiteY125" fmla="*/ 20575 h 92100"/>
                <a:gd name="connsiteX126" fmla="*/ 368392 w 498589"/>
                <a:gd name="connsiteY126" fmla="*/ 27837 h 92100"/>
                <a:gd name="connsiteX127" fmla="*/ 368392 w 498589"/>
                <a:gd name="connsiteY127" fmla="*/ 70198 h 92100"/>
                <a:gd name="connsiteX128" fmla="*/ 357046 w 498589"/>
                <a:gd name="connsiteY128" fmla="*/ 70198 h 92100"/>
                <a:gd name="connsiteX129" fmla="*/ 252680 w 498589"/>
                <a:gd name="connsiteY129" fmla="*/ 0 h 92100"/>
                <a:gd name="connsiteX130" fmla="*/ 262445 w 498589"/>
                <a:gd name="connsiteY130" fmla="*/ 0 h 92100"/>
                <a:gd name="connsiteX131" fmla="*/ 262445 w 498589"/>
                <a:gd name="connsiteY131" fmla="*/ 70198 h 92100"/>
                <a:gd name="connsiteX132" fmla="*/ 252680 w 498589"/>
                <a:gd name="connsiteY132" fmla="*/ 70198 h 92100"/>
                <a:gd name="connsiteX133" fmla="*/ 131832 w 498589"/>
                <a:gd name="connsiteY133" fmla="*/ 0 h 92100"/>
                <a:gd name="connsiteX134" fmla="*/ 142240 w 498589"/>
                <a:gd name="connsiteY134" fmla="*/ 0 h 92100"/>
                <a:gd name="connsiteX135" fmla="*/ 142240 w 498589"/>
                <a:gd name="connsiteY135" fmla="*/ 26627 h 92100"/>
                <a:gd name="connsiteX136" fmla="*/ 148744 w 498589"/>
                <a:gd name="connsiteY136" fmla="*/ 20575 h 92100"/>
                <a:gd name="connsiteX137" fmla="*/ 160453 w 498589"/>
                <a:gd name="connsiteY137" fmla="*/ 18155 h 92100"/>
                <a:gd name="connsiteX138" fmla="*/ 177365 w 498589"/>
                <a:gd name="connsiteY138" fmla="*/ 25417 h 92100"/>
                <a:gd name="connsiteX139" fmla="*/ 179967 w 498589"/>
                <a:gd name="connsiteY139" fmla="*/ 37520 h 92100"/>
                <a:gd name="connsiteX140" fmla="*/ 179967 w 498589"/>
                <a:gd name="connsiteY140" fmla="*/ 70198 h 92100"/>
                <a:gd name="connsiteX141" fmla="*/ 169559 w 498589"/>
                <a:gd name="connsiteY141" fmla="*/ 70198 h 92100"/>
                <a:gd name="connsiteX142" fmla="*/ 169559 w 498589"/>
                <a:gd name="connsiteY142" fmla="*/ 38730 h 92100"/>
                <a:gd name="connsiteX143" fmla="*/ 168259 w 498589"/>
                <a:gd name="connsiteY143" fmla="*/ 30258 h 92100"/>
                <a:gd name="connsiteX144" fmla="*/ 157851 w 498589"/>
                <a:gd name="connsiteY144" fmla="*/ 25417 h 92100"/>
                <a:gd name="connsiteX145" fmla="*/ 146142 w 498589"/>
                <a:gd name="connsiteY145" fmla="*/ 29048 h 92100"/>
                <a:gd name="connsiteX146" fmla="*/ 142240 w 498589"/>
                <a:gd name="connsiteY146" fmla="*/ 43571 h 92100"/>
                <a:gd name="connsiteX147" fmla="*/ 142240 w 498589"/>
                <a:gd name="connsiteY147" fmla="*/ 70198 h 92100"/>
                <a:gd name="connsiteX148" fmla="*/ 131832 w 498589"/>
                <a:gd name="connsiteY148" fmla="*/ 70198 h 92100"/>
                <a:gd name="connsiteX149" fmla="*/ 29328 w 498589"/>
                <a:gd name="connsiteY149" fmla="*/ 0 h 92100"/>
                <a:gd name="connsiteX150" fmla="*/ 42080 w 498589"/>
                <a:gd name="connsiteY150" fmla="*/ 0 h 92100"/>
                <a:gd name="connsiteX151" fmla="*/ 70133 w 498589"/>
                <a:gd name="connsiteY151" fmla="*/ 70198 h 92100"/>
                <a:gd name="connsiteX152" fmla="*/ 58657 w 498589"/>
                <a:gd name="connsiteY152" fmla="*/ 70198 h 92100"/>
                <a:gd name="connsiteX153" fmla="*/ 51006 w 498589"/>
                <a:gd name="connsiteY153" fmla="*/ 49623 h 92100"/>
                <a:gd name="connsiteX154" fmla="*/ 19127 w 498589"/>
                <a:gd name="connsiteY154" fmla="*/ 49623 h 92100"/>
                <a:gd name="connsiteX155" fmla="*/ 11476 w 498589"/>
                <a:gd name="connsiteY155" fmla="*/ 70198 h 92100"/>
                <a:gd name="connsiteX156" fmla="*/ 0 w 498589"/>
                <a:gd name="connsiteY156" fmla="*/ 70198 h 9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498589" h="92100">
                  <a:moveTo>
                    <a:pt x="484536" y="43753"/>
                  </a:moveTo>
                  <a:lnTo>
                    <a:pt x="484536" y="45681"/>
                  </a:lnTo>
                  <a:lnTo>
                    <a:pt x="483735" y="44169"/>
                  </a:lnTo>
                  <a:close/>
                  <a:moveTo>
                    <a:pt x="478149" y="38449"/>
                  </a:moveTo>
                  <a:cubicBezTo>
                    <a:pt x="480704" y="38449"/>
                    <a:pt x="480704" y="38449"/>
                    <a:pt x="480704" y="38449"/>
                  </a:cubicBezTo>
                  <a:lnTo>
                    <a:pt x="483735" y="44169"/>
                  </a:lnTo>
                  <a:lnTo>
                    <a:pt x="479427" y="46405"/>
                  </a:lnTo>
                  <a:cubicBezTo>
                    <a:pt x="476872" y="46405"/>
                    <a:pt x="475594" y="46405"/>
                    <a:pt x="474317" y="47731"/>
                  </a:cubicBezTo>
                  <a:lnTo>
                    <a:pt x="467929" y="47731"/>
                  </a:lnTo>
                  <a:cubicBezTo>
                    <a:pt x="464097" y="47731"/>
                    <a:pt x="461542" y="49057"/>
                    <a:pt x="460265" y="50383"/>
                  </a:cubicBezTo>
                  <a:cubicBezTo>
                    <a:pt x="456432" y="51709"/>
                    <a:pt x="455155" y="54361"/>
                    <a:pt x="455155" y="58339"/>
                  </a:cubicBezTo>
                  <a:cubicBezTo>
                    <a:pt x="455155" y="60991"/>
                    <a:pt x="456432" y="62317"/>
                    <a:pt x="458987" y="64969"/>
                  </a:cubicBezTo>
                  <a:cubicBezTo>
                    <a:pt x="461542" y="66295"/>
                    <a:pt x="462820" y="67620"/>
                    <a:pt x="466652" y="67620"/>
                  </a:cubicBezTo>
                  <a:cubicBezTo>
                    <a:pt x="469207" y="67620"/>
                    <a:pt x="473039" y="66295"/>
                    <a:pt x="475594" y="64969"/>
                  </a:cubicBezTo>
                  <a:cubicBezTo>
                    <a:pt x="480704" y="62317"/>
                    <a:pt x="484536" y="58339"/>
                    <a:pt x="484536" y="53035"/>
                  </a:cubicBezTo>
                  <a:lnTo>
                    <a:pt x="484536" y="45681"/>
                  </a:lnTo>
                  <a:lnTo>
                    <a:pt x="494756" y="64969"/>
                  </a:lnTo>
                  <a:lnTo>
                    <a:pt x="498589" y="72924"/>
                  </a:lnTo>
                  <a:cubicBezTo>
                    <a:pt x="497311" y="72924"/>
                    <a:pt x="497311" y="74250"/>
                    <a:pt x="497311" y="74250"/>
                  </a:cubicBezTo>
                  <a:cubicBezTo>
                    <a:pt x="496034" y="74250"/>
                    <a:pt x="494756" y="74250"/>
                    <a:pt x="493479" y="74250"/>
                  </a:cubicBezTo>
                  <a:cubicBezTo>
                    <a:pt x="489646" y="74250"/>
                    <a:pt x="487091" y="72924"/>
                    <a:pt x="485814" y="70272"/>
                  </a:cubicBezTo>
                  <a:cubicBezTo>
                    <a:pt x="484536" y="68946"/>
                    <a:pt x="484536" y="67620"/>
                    <a:pt x="484536" y="64969"/>
                  </a:cubicBezTo>
                  <a:cubicBezTo>
                    <a:pt x="483259" y="67620"/>
                    <a:pt x="479427" y="70272"/>
                    <a:pt x="475594" y="71598"/>
                  </a:cubicBezTo>
                  <a:cubicBezTo>
                    <a:pt x="473039" y="72924"/>
                    <a:pt x="467929" y="75576"/>
                    <a:pt x="464097" y="75576"/>
                  </a:cubicBezTo>
                  <a:cubicBezTo>
                    <a:pt x="458987" y="75576"/>
                    <a:pt x="453877" y="72924"/>
                    <a:pt x="450045" y="70272"/>
                  </a:cubicBezTo>
                  <a:cubicBezTo>
                    <a:pt x="447490" y="67620"/>
                    <a:pt x="444935" y="62317"/>
                    <a:pt x="444935" y="58339"/>
                  </a:cubicBezTo>
                  <a:cubicBezTo>
                    <a:pt x="444935" y="53035"/>
                    <a:pt x="447490" y="49057"/>
                    <a:pt x="450045" y="46405"/>
                  </a:cubicBezTo>
                  <a:cubicBezTo>
                    <a:pt x="453877" y="43753"/>
                    <a:pt x="458987" y="41101"/>
                    <a:pt x="464097" y="41101"/>
                  </a:cubicBezTo>
                  <a:close/>
                  <a:moveTo>
                    <a:pt x="212921" y="23643"/>
                  </a:moveTo>
                  <a:cubicBezTo>
                    <a:pt x="208997" y="23643"/>
                    <a:pt x="205073" y="24837"/>
                    <a:pt x="202458" y="28420"/>
                  </a:cubicBezTo>
                  <a:cubicBezTo>
                    <a:pt x="198534" y="30808"/>
                    <a:pt x="197226" y="34391"/>
                    <a:pt x="197226" y="37973"/>
                  </a:cubicBezTo>
                  <a:lnTo>
                    <a:pt x="229923" y="37973"/>
                  </a:lnTo>
                  <a:cubicBezTo>
                    <a:pt x="229923" y="34391"/>
                    <a:pt x="228615" y="32002"/>
                    <a:pt x="227307" y="29614"/>
                  </a:cubicBezTo>
                  <a:cubicBezTo>
                    <a:pt x="223384" y="26031"/>
                    <a:pt x="219460" y="23643"/>
                    <a:pt x="212921" y="23643"/>
                  </a:cubicBezTo>
                  <a:close/>
                  <a:moveTo>
                    <a:pt x="471651" y="16478"/>
                  </a:moveTo>
                  <a:lnTo>
                    <a:pt x="476645" y="23542"/>
                  </a:lnTo>
                  <a:cubicBezTo>
                    <a:pt x="474148" y="23542"/>
                    <a:pt x="472900" y="23542"/>
                    <a:pt x="471651" y="23542"/>
                  </a:cubicBezTo>
                  <a:cubicBezTo>
                    <a:pt x="466658" y="23542"/>
                    <a:pt x="462913" y="24719"/>
                    <a:pt x="461665" y="25896"/>
                  </a:cubicBezTo>
                  <a:cubicBezTo>
                    <a:pt x="460417" y="28250"/>
                    <a:pt x="459168" y="30605"/>
                    <a:pt x="459168" y="31782"/>
                  </a:cubicBezTo>
                  <a:lnTo>
                    <a:pt x="450430" y="31782"/>
                  </a:lnTo>
                  <a:cubicBezTo>
                    <a:pt x="450430" y="25896"/>
                    <a:pt x="451678" y="22364"/>
                    <a:pt x="456672" y="20010"/>
                  </a:cubicBezTo>
                  <a:cubicBezTo>
                    <a:pt x="461665" y="17655"/>
                    <a:pt x="465410" y="16478"/>
                    <a:pt x="471651" y="16478"/>
                  </a:cubicBezTo>
                  <a:close/>
                  <a:moveTo>
                    <a:pt x="269158" y="16478"/>
                  </a:moveTo>
                  <a:lnTo>
                    <a:pt x="280929" y="16478"/>
                  </a:lnTo>
                  <a:lnTo>
                    <a:pt x="295316" y="60057"/>
                  </a:lnTo>
                  <a:lnTo>
                    <a:pt x="312318" y="16478"/>
                  </a:lnTo>
                  <a:lnTo>
                    <a:pt x="322781" y="16478"/>
                  </a:lnTo>
                  <a:cubicBezTo>
                    <a:pt x="321473" y="20323"/>
                    <a:pt x="317550" y="28014"/>
                    <a:pt x="313626" y="39549"/>
                  </a:cubicBezTo>
                  <a:cubicBezTo>
                    <a:pt x="309702" y="48521"/>
                    <a:pt x="307087" y="56211"/>
                    <a:pt x="304471" y="62620"/>
                  </a:cubicBezTo>
                  <a:cubicBezTo>
                    <a:pt x="299239" y="76719"/>
                    <a:pt x="295316" y="84409"/>
                    <a:pt x="292700" y="88254"/>
                  </a:cubicBezTo>
                  <a:cubicBezTo>
                    <a:pt x="290084" y="90818"/>
                    <a:pt x="286160" y="92100"/>
                    <a:pt x="280929" y="92100"/>
                  </a:cubicBezTo>
                  <a:cubicBezTo>
                    <a:pt x="278313" y="92100"/>
                    <a:pt x="278313" y="92100"/>
                    <a:pt x="277005" y="92100"/>
                  </a:cubicBezTo>
                  <a:cubicBezTo>
                    <a:pt x="277005" y="92100"/>
                    <a:pt x="275697" y="92100"/>
                    <a:pt x="274390" y="92100"/>
                  </a:cubicBezTo>
                  <a:lnTo>
                    <a:pt x="274390" y="83128"/>
                  </a:lnTo>
                  <a:cubicBezTo>
                    <a:pt x="275697" y="84409"/>
                    <a:pt x="277005" y="84409"/>
                    <a:pt x="278313" y="84409"/>
                  </a:cubicBezTo>
                  <a:lnTo>
                    <a:pt x="279621" y="84409"/>
                  </a:lnTo>
                  <a:cubicBezTo>
                    <a:pt x="282237" y="84409"/>
                    <a:pt x="282237" y="84409"/>
                    <a:pt x="284853" y="83128"/>
                  </a:cubicBezTo>
                  <a:cubicBezTo>
                    <a:pt x="284853" y="83128"/>
                    <a:pt x="286160" y="83128"/>
                    <a:pt x="286160" y="81846"/>
                  </a:cubicBezTo>
                  <a:cubicBezTo>
                    <a:pt x="286160" y="80564"/>
                    <a:pt x="286160" y="80564"/>
                    <a:pt x="288776" y="76719"/>
                  </a:cubicBezTo>
                  <a:cubicBezTo>
                    <a:pt x="288776" y="74155"/>
                    <a:pt x="290084" y="72874"/>
                    <a:pt x="291392" y="71592"/>
                  </a:cubicBezTo>
                  <a:close/>
                  <a:moveTo>
                    <a:pt x="214228" y="16478"/>
                  </a:moveTo>
                  <a:cubicBezTo>
                    <a:pt x="218152" y="16478"/>
                    <a:pt x="222076" y="17672"/>
                    <a:pt x="225999" y="18867"/>
                  </a:cubicBezTo>
                  <a:cubicBezTo>
                    <a:pt x="229923" y="20061"/>
                    <a:pt x="232539" y="22449"/>
                    <a:pt x="235155" y="24837"/>
                  </a:cubicBezTo>
                  <a:cubicBezTo>
                    <a:pt x="236462" y="28420"/>
                    <a:pt x="237770" y="30808"/>
                    <a:pt x="239078" y="34391"/>
                  </a:cubicBezTo>
                  <a:cubicBezTo>
                    <a:pt x="240386" y="36779"/>
                    <a:pt x="240386" y="39167"/>
                    <a:pt x="240386" y="45138"/>
                  </a:cubicBezTo>
                  <a:lnTo>
                    <a:pt x="197226" y="45138"/>
                  </a:lnTo>
                  <a:cubicBezTo>
                    <a:pt x="197226" y="49915"/>
                    <a:pt x="198534" y="54691"/>
                    <a:pt x="201150" y="57079"/>
                  </a:cubicBezTo>
                  <a:cubicBezTo>
                    <a:pt x="203765" y="60662"/>
                    <a:pt x="207689" y="63050"/>
                    <a:pt x="212921" y="63050"/>
                  </a:cubicBezTo>
                  <a:cubicBezTo>
                    <a:pt x="218152" y="63050"/>
                    <a:pt x="222076" y="60662"/>
                    <a:pt x="225999" y="58274"/>
                  </a:cubicBezTo>
                  <a:cubicBezTo>
                    <a:pt x="227307" y="55885"/>
                    <a:pt x="228615" y="54691"/>
                    <a:pt x="229923" y="52303"/>
                  </a:cubicBezTo>
                  <a:lnTo>
                    <a:pt x="239078" y="52303"/>
                  </a:lnTo>
                  <a:cubicBezTo>
                    <a:pt x="239078" y="53497"/>
                    <a:pt x="237770" y="55885"/>
                    <a:pt x="236462" y="58274"/>
                  </a:cubicBezTo>
                  <a:cubicBezTo>
                    <a:pt x="235155" y="60662"/>
                    <a:pt x="233847" y="63050"/>
                    <a:pt x="232539" y="64244"/>
                  </a:cubicBezTo>
                  <a:cubicBezTo>
                    <a:pt x="228615" y="65438"/>
                    <a:pt x="224692" y="67827"/>
                    <a:pt x="220768" y="69021"/>
                  </a:cubicBezTo>
                  <a:cubicBezTo>
                    <a:pt x="218152" y="69021"/>
                    <a:pt x="215536" y="70215"/>
                    <a:pt x="212921" y="70215"/>
                  </a:cubicBezTo>
                  <a:cubicBezTo>
                    <a:pt x="205073" y="70215"/>
                    <a:pt x="198534" y="67827"/>
                    <a:pt x="193302" y="63050"/>
                  </a:cubicBezTo>
                  <a:cubicBezTo>
                    <a:pt x="188071" y="58274"/>
                    <a:pt x="186763" y="51109"/>
                    <a:pt x="186763" y="43944"/>
                  </a:cubicBezTo>
                  <a:cubicBezTo>
                    <a:pt x="186763" y="35585"/>
                    <a:pt x="188071" y="28420"/>
                    <a:pt x="194610" y="23643"/>
                  </a:cubicBezTo>
                  <a:cubicBezTo>
                    <a:pt x="198534" y="18867"/>
                    <a:pt x="205073" y="16478"/>
                    <a:pt x="214228" y="16478"/>
                  </a:cubicBezTo>
                  <a:close/>
                  <a:moveTo>
                    <a:pt x="100987" y="16478"/>
                  </a:moveTo>
                  <a:cubicBezTo>
                    <a:pt x="108593" y="16478"/>
                    <a:pt x="114931" y="19050"/>
                    <a:pt x="118733" y="25478"/>
                  </a:cubicBezTo>
                  <a:cubicBezTo>
                    <a:pt x="121269" y="26763"/>
                    <a:pt x="123804" y="30620"/>
                    <a:pt x="123804" y="34477"/>
                  </a:cubicBezTo>
                  <a:lnTo>
                    <a:pt x="113663" y="34477"/>
                  </a:lnTo>
                  <a:cubicBezTo>
                    <a:pt x="113663" y="31906"/>
                    <a:pt x="113663" y="30620"/>
                    <a:pt x="111128" y="28049"/>
                  </a:cubicBezTo>
                  <a:cubicBezTo>
                    <a:pt x="108593" y="26763"/>
                    <a:pt x="106058" y="25478"/>
                    <a:pt x="99720" y="25478"/>
                  </a:cubicBezTo>
                  <a:cubicBezTo>
                    <a:pt x="95917" y="25478"/>
                    <a:pt x="93382" y="25478"/>
                    <a:pt x="92114" y="26763"/>
                  </a:cubicBezTo>
                  <a:cubicBezTo>
                    <a:pt x="89579" y="28049"/>
                    <a:pt x="88311" y="30620"/>
                    <a:pt x="88311" y="33192"/>
                  </a:cubicBezTo>
                  <a:cubicBezTo>
                    <a:pt x="88311" y="34477"/>
                    <a:pt x="89579" y="37048"/>
                    <a:pt x="92114" y="38334"/>
                  </a:cubicBezTo>
                  <a:cubicBezTo>
                    <a:pt x="93382" y="39620"/>
                    <a:pt x="95917" y="39620"/>
                    <a:pt x="98452" y="40905"/>
                  </a:cubicBezTo>
                  <a:lnTo>
                    <a:pt x="106058" y="40905"/>
                  </a:lnTo>
                  <a:cubicBezTo>
                    <a:pt x="112396" y="42191"/>
                    <a:pt x="117466" y="44762"/>
                    <a:pt x="118733" y="46048"/>
                  </a:cubicBezTo>
                  <a:cubicBezTo>
                    <a:pt x="123804" y="48619"/>
                    <a:pt x="125071" y="52476"/>
                    <a:pt x="125071" y="56333"/>
                  </a:cubicBezTo>
                  <a:cubicBezTo>
                    <a:pt x="125071" y="61476"/>
                    <a:pt x="123804" y="66618"/>
                    <a:pt x="118733" y="69189"/>
                  </a:cubicBezTo>
                  <a:cubicBezTo>
                    <a:pt x="114931" y="73046"/>
                    <a:pt x="108593" y="75618"/>
                    <a:pt x="100987" y="75618"/>
                  </a:cubicBezTo>
                  <a:cubicBezTo>
                    <a:pt x="92114" y="75618"/>
                    <a:pt x="85776" y="73046"/>
                    <a:pt x="83241" y="69189"/>
                  </a:cubicBezTo>
                  <a:cubicBezTo>
                    <a:pt x="79438" y="65333"/>
                    <a:pt x="78171" y="61476"/>
                    <a:pt x="76903" y="56333"/>
                  </a:cubicBezTo>
                  <a:lnTo>
                    <a:pt x="85776" y="56333"/>
                  </a:lnTo>
                  <a:cubicBezTo>
                    <a:pt x="87044" y="58904"/>
                    <a:pt x="87044" y="61476"/>
                    <a:pt x="88311" y="62761"/>
                  </a:cubicBezTo>
                  <a:cubicBezTo>
                    <a:pt x="92114" y="65333"/>
                    <a:pt x="94649" y="67904"/>
                    <a:pt x="100987" y="67904"/>
                  </a:cubicBezTo>
                  <a:cubicBezTo>
                    <a:pt x="106058" y="67904"/>
                    <a:pt x="108593" y="66618"/>
                    <a:pt x="111128" y="65333"/>
                  </a:cubicBezTo>
                  <a:cubicBezTo>
                    <a:pt x="113663" y="62761"/>
                    <a:pt x="114931" y="61476"/>
                    <a:pt x="114931" y="58904"/>
                  </a:cubicBezTo>
                  <a:cubicBezTo>
                    <a:pt x="114931" y="56333"/>
                    <a:pt x="113663" y="53762"/>
                    <a:pt x="112396" y="53762"/>
                  </a:cubicBezTo>
                  <a:cubicBezTo>
                    <a:pt x="111128" y="52476"/>
                    <a:pt x="107325" y="51190"/>
                    <a:pt x="103522" y="51190"/>
                  </a:cubicBezTo>
                  <a:lnTo>
                    <a:pt x="95917" y="48619"/>
                  </a:lnTo>
                  <a:cubicBezTo>
                    <a:pt x="90846" y="47334"/>
                    <a:pt x="87044" y="46048"/>
                    <a:pt x="85776" y="44762"/>
                  </a:cubicBezTo>
                  <a:cubicBezTo>
                    <a:pt x="80706" y="42191"/>
                    <a:pt x="78171" y="39620"/>
                    <a:pt x="78171" y="34477"/>
                  </a:cubicBezTo>
                  <a:cubicBezTo>
                    <a:pt x="78171" y="29335"/>
                    <a:pt x="80706" y="25478"/>
                    <a:pt x="84509" y="21621"/>
                  </a:cubicBezTo>
                  <a:cubicBezTo>
                    <a:pt x="88311" y="19050"/>
                    <a:pt x="93382" y="16478"/>
                    <a:pt x="100987" y="16478"/>
                  </a:cubicBezTo>
                  <a:close/>
                  <a:moveTo>
                    <a:pt x="35704" y="10893"/>
                  </a:moveTo>
                  <a:lnTo>
                    <a:pt x="22953" y="41151"/>
                  </a:lnTo>
                  <a:lnTo>
                    <a:pt x="47180" y="41151"/>
                  </a:lnTo>
                  <a:close/>
                  <a:moveTo>
                    <a:pt x="357046" y="0"/>
                  </a:moveTo>
                  <a:lnTo>
                    <a:pt x="373435" y="0"/>
                  </a:lnTo>
                  <a:lnTo>
                    <a:pt x="394867" y="59305"/>
                  </a:lnTo>
                  <a:lnTo>
                    <a:pt x="417560" y="0"/>
                  </a:lnTo>
                  <a:lnTo>
                    <a:pt x="432688" y="0"/>
                  </a:lnTo>
                  <a:lnTo>
                    <a:pt x="432688" y="70198"/>
                  </a:lnTo>
                  <a:lnTo>
                    <a:pt x="422603" y="70198"/>
                  </a:lnTo>
                  <a:lnTo>
                    <a:pt x="422603" y="27837"/>
                  </a:lnTo>
                  <a:cubicBezTo>
                    <a:pt x="422603" y="26627"/>
                    <a:pt x="422603" y="25417"/>
                    <a:pt x="422603" y="21786"/>
                  </a:cubicBezTo>
                  <a:cubicBezTo>
                    <a:pt x="422603" y="18155"/>
                    <a:pt x="422603" y="14524"/>
                    <a:pt x="422603" y="10893"/>
                  </a:cubicBezTo>
                  <a:lnTo>
                    <a:pt x="399910" y="70198"/>
                  </a:lnTo>
                  <a:lnTo>
                    <a:pt x="389824" y="70198"/>
                  </a:lnTo>
                  <a:lnTo>
                    <a:pt x="367132" y="10893"/>
                  </a:lnTo>
                  <a:lnTo>
                    <a:pt x="367132" y="13314"/>
                  </a:lnTo>
                  <a:cubicBezTo>
                    <a:pt x="367132" y="14524"/>
                    <a:pt x="367132" y="16945"/>
                    <a:pt x="367132" y="20575"/>
                  </a:cubicBezTo>
                  <a:cubicBezTo>
                    <a:pt x="367132" y="25417"/>
                    <a:pt x="368392" y="26627"/>
                    <a:pt x="368392" y="27837"/>
                  </a:cubicBezTo>
                  <a:lnTo>
                    <a:pt x="368392" y="70198"/>
                  </a:lnTo>
                  <a:lnTo>
                    <a:pt x="357046" y="70198"/>
                  </a:lnTo>
                  <a:close/>
                  <a:moveTo>
                    <a:pt x="252680" y="0"/>
                  </a:moveTo>
                  <a:lnTo>
                    <a:pt x="262445" y="0"/>
                  </a:lnTo>
                  <a:lnTo>
                    <a:pt x="262445" y="70198"/>
                  </a:lnTo>
                  <a:lnTo>
                    <a:pt x="252680" y="70198"/>
                  </a:lnTo>
                  <a:close/>
                  <a:moveTo>
                    <a:pt x="131832" y="0"/>
                  </a:moveTo>
                  <a:lnTo>
                    <a:pt x="142240" y="0"/>
                  </a:lnTo>
                  <a:lnTo>
                    <a:pt x="142240" y="26627"/>
                  </a:lnTo>
                  <a:cubicBezTo>
                    <a:pt x="143541" y="22996"/>
                    <a:pt x="146142" y="21786"/>
                    <a:pt x="148744" y="20575"/>
                  </a:cubicBezTo>
                  <a:cubicBezTo>
                    <a:pt x="151346" y="19365"/>
                    <a:pt x="155249" y="18155"/>
                    <a:pt x="160453" y="18155"/>
                  </a:cubicBezTo>
                  <a:cubicBezTo>
                    <a:pt x="169559" y="18155"/>
                    <a:pt x="174763" y="20575"/>
                    <a:pt x="177365" y="25417"/>
                  </a:cubicBezTo>
                  <a:cubicBezTo>
                    <a:pt x="178666" y="27837"/>
                    <a:pt x="179967" y="32678"/>
                    <a:pt x="179967" y="37520"/>
                  </a:cubicBezTo>
                  <a:lnTo>
                    <a:pt x="179967" y="70198"/>
                  </a:lnTo>
                  <a:lnTo>
                    <a:pt x="169559" y="70198"/>
                  </a:lnTo>
                  <a:lnTo>
                    <a:pt x="169559" y="38730"/>
                  </a:lnTo>
                  <a:cubicBezTo>
                    <a:pt x="169559" y="33889"/>
                    <a:pt x="169559" y="31468"/>
                    <a:pt x="168259" y="30258"/>
                  </a:cubicBezTo>
                  <a:cubicBezTo>
                    <a:pt x="165657" y="26627"/>
                    <a:pt x="163055" y="25417"/>
                    <a:pt x="157851" y="25417"/>
                  </a:cubicBezTo>
                  <a:cubicBezTo>
                    <a:pt x="153948" y="25417"/>
                    <a:pt x="150045" y="26627"/>
                    <a:pt x="146142" y="29048"/>
                  </a:cubicBezTo>
                  <a:cubicBezTo>
                    <a:pt x="143541" y="31468"/>
                    <a:pt x="142240" y="36309"/>
                    <a:pt x="142240" y="43571"/>
                  </a:cubicBezTo>
                  <a:lnTo>
                    <a:pt x="142240" y="70198"/>
                  </a:lnTo>
                  <a:lnTo>
                    <a:pt x="131832" y="70198"/>
                  </a:lnTo>
                  <a:close/>
                  <a:moveTo>
                    <a:pt x="29328" y="0"/>
                  </a:moveTo>
                  <a:lnTo>
                    <a:pt x="42080" y="0"/>
                  </a:lnTo>
                  <a:lnTo>
                    <a:pt x="70133" y="70198"/>
                  </a:lnTo>
                  <a:lnTo>
                    <a:pt x="58657" y="70198"/>
                  </a:lnTo>
                  <a:lnTo>
                    <a:pt x="51006" y="49623"/>
                  </a:lnTo>
                  <a:lnTo>
                    <a:pt x="19127" y="49623"/>
                  </a:lnTo>
                  <a:lnTo>
                    <a:pt x="11476" y="70198"/>
                  </a:lnTo>
                  <a:lnTo>
                    <a:pt x="0" y="701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7" name="Freeform 129">
              <a:extLst>
                <a:ext uri="{FF2B5EF4-FFF2-40B4-BE49-F238E27FC236}">
                  <a16:creationId xmlns:a16="http://schemas.microsoft.com/office/drawing/2014/main" id="{BC36D4DD-A3B2-77D7-D657-6B5C8F4FB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0064" y="7117789"/>
              <a:ext cx="334539" cy="184573"/>
            </a:xfrm>
            <a:custGeom>
              <a:avLst/>
              <a:gdLst>
                <a:gd name="T0" fmla="*/ 256 w 257"/>
                <a:gd name="T1" fmla="*/ 140 h 141"/>
                <a:gd name="T2" fmla="*/ 0 w 257"/>
                <a:gd name="T3" fmla="*/ 140 h 141"/>
                <a:gd name="T4" fmla="*/ 0 w 257"/>
                <a:gd name="T5" fmla="*/ 0 h 141"/>
                <a:gd name="T6" fmla="*/ 256 w 257"/>
                <a:gd name="T7" fmla="*/ 0 h 141"/>
                <a:gd name="T8" fmla="*/ 256 w 257"/>
                <a:gd name="T9" fmla="*/ 1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7" h="141">
                  <a:moveTo>
                    <a:pt x="256" y="140"/>
                  </a:moveTo>
                  <a:lnTo>
                    <a:pt x="0" y="140"/>
                  </a:lnTo>
                  <a:lnTo>
                    <a:pt x="0" y="0"/>
                  </a:lnTo>
                  <a:lnTo>
                    <a:pt x="256" y="0"/>
                  </a:lnTo>
                  <a:lnTo>
                    <a:pt x="256" y="140"/>
                  </a:lnTo>
                </a:path>
              </a:pathLst>
            </a:custGeom>
            <a:solidFill>
              <a:srgbClr val="FCC0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8" name="Freeform 58">
              <a:extLst>
                <a:ext uri="{FF2B5EF4-FFF2-40B4-BE49-F238E27FC236}">
                  <a16:creationId xmlns:a16="http://schemas.microsoft.com/office/drawing/2014/main" id="{D072AA52-389E-11A9-DD33-E72284E26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0064" y="7117789"/>
              <a:ext cx="333237" cy="183264"/>
            </a:xfrm>
            <a:custGeom>
              <a:avLst/>
              <a:gdLst>
                <a:gd name="connsiteX0" fmla="*/ 208736 w 317357"/>
                <a:gd name="connsiteY0" fmla="*/ 46895 h 174531"/>
                <a:gd name="connsiteX1" fmla="*/ 114134 w 317357"/>
                <a:gd name="connsiteY1" fmla="*/ 47550 h 174531"/>
                <a:gd name="connsiteX2" fmla="*/ 114134 w 317357"/>
                <a:gd name="connsiteY2" fmla="*/ 110568 h 174531"/>
                <a:gd name="connsiteX3" fmla="*/ 208736 w 317357"/>
                <a:gd name="connsiteY3" fmla="*/ 110239 h 174531"/>
                <a:gd name="connsiteX4" fmla="*/ 104369 w 317357"/>
                <a:gd name="connsiteY4" fmla="*/ 0 h 174531"/>
                <a:gd name="connsiteX5" fmla="*/ 114134 w 317357"/>
                <a:gd name="connsiteY5" fmla="*/ 0 h 174531"/>
                <a:gd name="connsiteX6" fmla="*/ 114134 w 317357"/>
                <a:gd name="connsiteY6" fmla="*/ 39157 h 174531"/>
                <a:gd name="connsiteX7" fmla="*/ 208736 w 317357"/>
                <a:gd name="connsiteY7" fmla="*/ 38829 h 174531"/>
                <a:gd name="connsiteX8" fmla="*/ 208736 w 317357"/>
                <a:gd name="connsiteY8" fmla="*/ 0 h 174531"/>
                <a:gd name="connsiteX9" fmla="*/ 218501 w 317357"/>
                <a:gd name="connsiteY9" fmla="*/ 0 h 174531"/>
                <a:gd name="connsiteX10" fmla="*/ 218501 w 317357"/>
                <a:gd name="connsiteY10" fmla="*/ 38795 h 174531"/>
                <a:gd name="connsiteX11" fmla="*/ 317352 w 317357"/>
                <a:gd name="connsiteY11" fmla="*/ 38453 h 174531"/>
                <a:gd name="connsiteX12" fmla="*/ 317352 w 317357"/>
                <a:gd name="connsiteY12" fmla="*/ 46143 h 174531"/>
                <a:gd name="connsiteX13" fmla="*/ 218501 w 317357"/>
                <a:gd name="connsiteY13" fmla="*/ 46828 h 174531"/>
                <a:gd name="connsiteX14" fmla="*/ 218501 w 317357"/>
                <a:gd name="connsiteY14" fmla="*/ 110205 h 174531"/>
                <a:gd name="connsiteX15" fmla="*/ 316118 w 317357"/>
                <a:gd name="connsiteY15" fmla="*/ 109866 h 174531"/>
                <a:gd name="connsiteX16" fmla="*/ 317357 w 317357"/>
                <a:gd name="connsiteY16" fmla="*/ 118655 h 174531"/>
                <a:gd name="connsiteX17" fmla="*/ 218501 w 317357"/>
                <a:gd name="connsiteY17" fmla="*/ 118997 h 174531"/>
                <a:gd name="connsiteX18" fmla="*/ 218501 w 317357"/>
                <a:gd name="connsiteY18" fmla="*/ 174531 h 174531"/>
                <a:gd name="connsiteX19" fmla="*/ 208736 w 317357"/>
                <a:gd name="connsiteY19" fmla="*/ 174531 h 174531"/>
                <a:gd name="connsiteX20" fmla="*/ 208736 w 317357"/>
                <a:gd name="connsiteY20" fmla="*/ 119031 h 174531"/>
                <a:gd name="connsiteX21" fmla="*/ 114134 w 317357"/>
                <a:gd name="connsiteY21" fmla="*/ 119359 h 174531"/>
                <a:gd name="connsiteX22" fmla="*/ 114134 w 317357"/>
                <a:gd name="connsiteY22" fmla="*/ 174531 h 174531"/>
                <a:gd name="connsiteX23" fmla="*/ 104369 w 317357"/>
                <a:gd name="connsiteY23" fmla="*/ 174531 h 174531"/>
                <a:gd name="connsiteX24" fmla="*/ 104369 w 317357"/>
                <a:gd name="connsiteY24" fmla="*/ 119392 h 174531"/>
                <a:gd name="connsiteX25" fmla="*/ 0 w 317357"/>
                <a:gd name="connsiteY25" fmla="*/ 119754 h 174531"/>
                <a:gd name="connsiteX26" fmla="*/ 0 w 317357"/>
                <a:gd name="connsiteY26" fmla="*/ 110965 h 174531"/>
                <a:gd name="connsiteX27" fmla="*/ 104369 w 317357"/>
                <a:gd name="connsiteY27" fmla="*/ 110602 h 174531"/>
                <a:gd name="connsiteX28" fmla="*/ 104369 w 317357"/>
                <a:gd name="connsiteY28" fmla="*/ 47618 h 174531"/>
                <a:gd name="connsiteX29" fmla="*/ 0 w 317357"/>
                <a:gd name="connsiteY29" fmla="*/ 48341 h 174531"/>
                <a:gd name="connsiteX30" fmla="*/ 0 w 317357"/>
                <a:gd name="connsiteY30" fmla="*/ 39552 h 174531"/>
                <a:gd name="connsiteX31" fmla="*/ 104369 w 317357"/>
                <a:gd name="connsiteY31" fmla="*/ 39190 h 174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17357" h="174531">
                  <a:moveTo>
                    <a:pt x="208736" y="46895"/>
                  </a:moveTo>
                  <a:lnTo>
                    <a:pt x="114134" y="47550"/>
                  </a:lnTo>
                  <a:lnTo>
                    <a:pt x="114134" y="110568"/>
                  </a:lnTo>
                  <a:lnTo>
                    <a:pt x="208736" y="110239"/>
                  </a:lnTo>
                  <a:close/>
                  <a:moveTo>
                    <a:pt x="104369" y="0"/>
                  </a:moveTo>
                  <a:lnTo>
                    <a:pt x="114134" y="0"/>
                  </a:lnTo>
                  <a:lnTo>
                    <a:pt x="114134" y="39157"/>
                  </a:lnTo>
                  <a:lnTo>
                    <a:pt x="208736" y="38829"/>
                  </a:lnTo>
                  <a:lnTo>
                    <a:pt x="208736" y="0"/>
                  </a:lnTo>
                  <a:lnTo>
                    <a:pt x="218501" y="0"/>
                  </a:lnTo>
                  <a:lnTo>
                    <a:pt x="218501" y="38795"/>
                  </a:lnTo>
                  <a:lnTo>
                    <a:pt x="317352" y="38453"/>
                  </a:lnTo>
                  <a:lnTo>
                    <a:pt x="317352" y="46143"/>
                  </a:lnTo>
                  <a:lnTo>
                    <a:pt x="218501" y="46828"/>
                  </a:lnTo>
                  <a:lnTo>
                    <a:pt x="218501" y="110205"/>
                  </a:lnTo>
                  <a:lnTo>
                    <a:pt x="316118" y="109866"/>
                  </a:lnTo>
                  <a:lnTo>
                    <a:pt x="317357" y="118655"/>
                  </a:lnTo>
                  <a:lnTo>
                    <a:pt x="218501" y="118997"/>
                  </a:lnTo>
                  <a:lnTo>
                    <a:pt x="218501" y="174531"/>
                  </a:lnTo>
                  <a:lnTo>
                    <a:pt x="208736" y="174531"/>
                  </a:lnTo>
                  <a:lnTo>
                    <a:pt x="208736" y="119031"/>
                  </a:lnTo>
                  <a:lnTo>
                    <a:pt x="114134" y="119359"/>
                  </a:lnTo>
                  <a:lnTo>
                    <a:pt x="114134" y="174531"/>
                  </a:lnTo>
                  <a:lnTo>
                    <a:pt x="104369" y="174531"/>
                  </a:lnTo>
                  <a:lnTo>
                    <a:pt x="104369" y="119392"/>
                  </a:lnTo>
                  <a:lnTo>
                    <a:pt x="0" y="119754"/>
                  </a:lnTo>
                  <a:lnTo>
                    <a:pt x="0" y="110965"/>
                  </a:lnTo>
                  <a:lnTo>
                    <a:pt x="104369" y="110602"/>
                  </a:lnTo>
                  <a:lnTo>
                    <a:pt x="104369" y="47618"/>
                  </a:lnTo>
                  <a:lnTo>
                    <a:pt x="0" y="48341"/>
                  </a:lnTo>
                  <a:lnTo>
                    <a:pt x="0" y="39552"/>
                  </a:lnTo>
                  <a:lnTo>
                    <a:pt x="104369" y="39190"/>
                  </a:lnTo>
                  <a:close/>
                </a:path>
              </a:pathLst>
            </a:custGeom>
            <a:solidFill>
              <a:srgbClr val="E2983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19" name="Freeform 134">
              <a:extLst>
                <a:ext uri="{FF2B5EF4-FFF2-40B4-BE49-F238E27FC236}">
                  <a16:creationId xmlns:a16="http://schemas.microsoft.com/office/drawing/2014/main" id="{43A26563-2157-22DE-26A7-587925783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53032" y="4320349"/>
              <a:ext cx="813273" cy="1274711"/>
            </a:xfrm>
            <a:custGeom>
              <a:avLst/>
              <a:gdLst>
                <a:gd name="T0" fmla="*/ 620 w 621"/>
                <a:gd name="T1" fmla="*/ 973 h 974"/>
                <a:gd name="T2" fmla="*/ 504 w 621"/>
                <a:gd name="T3" fmla="*/ 973 h 974"/>
                <a:gd name="T4" fmla="*/ 504 w 621"/>
                <a:gd name="T5" fmla="*/ 516 h 974"/>
                <a:gd name="T6" fmla="*/ 504 w 621"/>
                <a:gd name="T7" fmla="*/ 516 h 974"/>
                <a:gd name="T8" fmla="*/ 310 w 621"/>
                <a:gd name="T9" fmla="*/ 115 h 974"/>
                <a:gd name="T10" fmla="*/ 310 w 621"/>
                <a:gd name="T11" fmla="*/ 115 h 974"/>
                <a:gd name="T12" fmla="*/ 115 w 621"/>
                <a:gd name="T13" fmla="*/ 516 h 974"/>
                <a:gd name="T14" fmla="*/ 0 w 621"/>
                <a:gd name="T15" fmla="*/ 516 h 974"/>
                <a:gd name="T16" fmla="*/ 0 w 621"/>
                <a:gd name="T17" fmla="*/ 516 h 974"/>
                <a:gd name="T18" fmla="*/ 310 w 621"/>
                <a:gd name="T19" fmla="*/ 0 h 974"/>
                <a:gd name="T20" fmla="*/ 310 w 621"/>
                <a:gd name="T21" fmla="*/ 0 h 974"/>
                <a:gd name="T22" fmla="*/ 620 w 621"/>
                <a:gd name="T23" fmla="*/ 516 h 974"/>
                <a:gd name="T24" fmla="*/ 620 w 621"/>
                <a:gd name="T25" fmla="*/ 973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1" h="974">
                  <a:moveTo>
                    <a:pt x="620" y="973"/>
                  </a:moveTo>
                  <a:lnTo>
                    <a:pt x="504" y="973"/>
                  </a:lnTo>
                  <a:lnTo>
                    <a:pt x="504" y="516"/>
                  </a:lnTo>
                  <a:lnTo>
                    <a:pt x="504" y="516"/>
                  </a:lnTo>
                  <a:cubicBezTo>
                    <a:pt x="504" y="280"/>
                    <a:pt x="402" y="115"/>
                    <a:pt x="310" y="115"/>
                  </a:cubicBezTo>
                  <a:lnTo>
                    <a:pt x="310" y="115"/>
                  </a:lnTo>
                  <a:cubicBezTo>
                    <a:pt x="217" y="115"/>
                    <a:pt x="115" y="280"/>
                    <a:pt x="115" y="516"/>
                  </a:cubicBezTo>
                  <a:lnTo>
                    <a:pt x="0" y="516"/>
                  </a:lnTo>
                  <a:lnTo>
                    <a:pt x="0" y="516"/>
                  </a:lnTo>
                  <a:cubicBezTo>
                    <a:pt x="0" y="227"/>
                    <a:pt x="136" y="0"/>
                    <a:pt x="310" y="0"/>
                  </a:cubicBezTo>
                  <a:lnTo>
                    <a:pt x="310" y="0"/>
                  </a:lnTo>
                  <a:cubicBezTo>
                    <a:pt x="484" y="0"/>
                    <a:pt x="620" y="227"/>
                    <a:pt x="620" y="516"/>
                  </a:cubicBezTo>
                  <a:lnTo>
                    <a:pt x="620" y="973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0" name="Freeform 135">
              <a:extLst>
                <a:ext uri="{FF2B5EF4-FFF2-40B4-BE49-F238E27FC236}">
                  <a16:creationId xmlns:a16="http://schemas.microsoft.com/office/drawing/2014/main" id="{10F2B9BA-74F9-6FBF-395D-6FECE57173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91390" y="5214382"/>
              <a:ext cx="576791" cy="1372764"/>
            </a:xfrm>
            <a:custGeom>
              <a:avLst/>
              <a:gdLst>
                <a:gd name="T0" fmla="*/ 299 w 440"/>
                <a:gd name="T1" fmla="*/ 130 h 1050"/>
                <a:gd name="T2" fmla="*/ 299 w 440"/>
                <a:gd name="T3" fmla="*/ 0 h 1050"/>
                <a:gd name="T4" fmla="*/ 152 w 440"/>
                <a:gd name="T5" fmla="*/ 0 h 1050"/>
                <a:gd name="T6" fmla="*/ 152 w 440"/>
                <a:gd name="T7" fmla="*/ 34 h 1050"/>
                <a:gd name="T8" fmla="*/ 152 w 440"/>
                <a:gd name="T9" fmla="*/ 34 h 1050"/>
                <a:gd name="T10" fmla="*/ 80 w 440"/>
                <a:gd name="T11" fmla="*/ 24 h 1050"/>
                <a:gd name="T12" fmla="*/ 5 w 440"/>
                <a:gd name="T13" fmla="*/ 24 h 1050"/>
                <a:gd name="T14" fmla="*/ 0 w 440"/>
                <a:gd name="T15" fmla="*/ 1048 h 1050"/>
                <a:gd name="T16" fmla="*/ 80 w 440"/>
                <a:gd name="T17" fmla="*/ 1049 h 1050"/>
                <a:gd name="T18" fmla="*/ 80 w 440"/>
                <a:gd name="T19" fmla="*/ 1049 h 1050"/>
                <a:gd name="T20" fmla="*/ 439 w 440"/>
                <a:gd name="T21" fmla="*/ 536 h 1050"/>
                <a:gd name="T22" fmla="*/ 439 w 440"/>
                <a:gd name="T23" fmla="*/ 536 h 1050"/>
                <a:gd name="T24" fmla="*/ 299 w 440"/>
                <a:gd name="T25" fmla="*/ 130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0" h="1050">
                  <a:moveTo>
                    <a:pt x="299" y="130"/>
                  </a:moveTo>
                  <a:lnTo>
                    <a:pt x="299" y="0"/>
                  </a:lnTo>
                  <a:lnTo>
                    <a:pt x="152" y="0"/>
                  </a:lnTo>
                  <a:lnTo>
                    <a:pt x="152" y="34"/>
                  </a:lnTo>
                  <a:lnTo>
                    <a:pt x="152" y="34"/>
                  </a:lnTo>
                  <a:cubicBezTo>
                    <a:pt x="129" y="27"/>
                    <a:pt x="105" y="24"/>
                    <a:pt x="80" y="24"/>
                  </a:cubicBezTo>
                  <a:lnTo>
                    <a:pt x="5" y="24"/>
                  </a:lnTo>
                  <a:lnTo>
                    <a:pt x="0" y="1048"/>
                  </a:lnTo>
                  <a:lnTo>
                    <a:pt x="80" y="1049"/>
                  </a:lnTo>
                  <a:lnTo>
                    <a:pt x="80" y="1049"/>
                  </a:lnTo>
                  <a:cubicBezTo>
                    <a:pt x="278" y="1049"/>
                    <a:pt x="439" y="819"/>
                    <a:pt x="439" y="536"/>
                  </a:cubicBezTo>
                  <a:lnTo>
                    <a:pt x="439" y="536"/>
                  </a:lnTo>
                  <a:cubicBezTo>
                    <a:pt x="439" y="371"/>
                    <a:pt x="384" y="223"/>
                    <a:pt x="299" y="130"/>
                  </a:cubicBezTo>
                </a:path>
              </a:pathLst>
            </a:custGeom>
            <a:solidFill>
              <a:srgbClr val="E2983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1" name="Freeform 136">
              <a:extLst>
                <a:ext uri="{FF2B5EF4-FFF2-40B4-BE49-F238E27FC236}">
                  <a16:creationId xmlns:a16="http://schemas.microsoft.com/office/drawing/2014/main" id="{F79E6303-DA91-B423-B846-AD3A624438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7259" y="5248989"/>
              <a:ext cx="905564" cy="1343922"/>
            </a:xfrm>
            <a:custGeom>
              <a:avLst/>
              <a:gdLst>
                <a:gd name="T0" fmla="*/ 690 w 691"/>
                <a:gd name="T1" fmla="*/ 512 h 1026"/>
                <a:gd name="T2" fmla="*/ 690 w 691"/>
                <a:gd name="T3" fmla="*/ 512 h 1026"/>
                <a:gd name="T4" fmla="*/ 345 w 691"/>
                <a:gd name="T5" fmla="*/ 1025 h 1026"/>
                <a:gd name="T6" fmla="*/ 345 w 691"/>
                <a:gd name="T7" fmla="*/ 1025 h 1026"/>
                <a:gd name="T8" fmla="*/ 0 w 691"/>
                <a:gd name="T9" fmla="*/ 512 h 1026"/>
                <a:gd name="T10" fmla="*/ 0 w 691"/>
                <a:gd name="T11" fmla="*/ 512 h 1026"/>
                <a:gd name="T12" fmla="*/ 345 w 691"/>
                <a:gd name="T13" fmla="*/ 0 h 1026"/>
                <a:gd name="T14" fmla="*/ 345 w 691"/>
                <a:gd name="T15" fmla="*/ 0 h 1026"/>
                <a:gd name="T16" fmla="*/ 690 w 691"/>
                <a:gd name="T17" fmla="*/ 512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1" h="1026">
                  <a:moveTo>
                    <a:pt x="690" y="512"/>
                  </a:moveTo>
                  <a:lnTo>
                    <a:pt x="690" y="512"/>
                  </a:lnTo>
                  <a:cubicBezTo>
                    <a:pt x="690" y="795"/>
                    <a:pt x="535" y="1025"/>
                    <a:pt x="345" y="1025"/>
                  </a:cubicBezTo>
                  <a:lnTo>
                    <a:pt x="345" y="1025"/>
                  </a:lnTo>
                  <a:cubicBezTo>
                    <a:pt x="155" y="1025"/>
                    <a:pt x="0" y="795"/>
                    <a:pt x="0" y="512"/>
                  </a:cubicBezTo>
                  <a:lnTo>
                    <a:pt x="0" y="512"/>
                  </a:lnTo>
                  <a:cubicBezTo>
                    <a:pt x="0" y="229"/>
                    <a:pt x="155" y="0"/>
                    <a:pt x="345" y="0"/>
                  </a:cubicBezTo>
                  <a:lnTo>
                    <a:pt x="345" y="0"/>
                  </a:lnTo>
                  <a:cubicBezTo>
                    <a:pt x="535" y="0"/>
                    <a:pt x="690" y="229"/>
                    <a:pt x="690" y="512"/>
                  </a:cubicBezTo>
                </a:path>
              </a:pathLst>
            </a:custGeom>
            <a:solidFill>
              <a:srgbClr val="F8DB6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2" name="Freeform 137">
              <a:extLst>
                <a:ext uri="{FF2B5EF4-FFF2-40B4-BE49-F238E27FC236}">
                  <a16:creationId xmlns:a16="http://schemas.microsoft.com/office/drawing/2014/main" id="{AC588D55-456E-29A6-5D1E-35D99F307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08624" y="5214382"/>
              <a:ext cx="74984" cy="173038"/>
            </a:xfrm>
            <a:custGeom>
              <a:avLst/>
              <a:gdLst>
                <a:gd name="T0" fmla="*/ 56 w 57"/>
                <a:gd name="T1" fmla="*/ 131 h 132"/>
                <a:gd name="T2" fmla="*/ 56 w 57"/>
                <a:gd name="T3" fmla="*/ 131 h 132"/>
                <a:gd name="T4" fmla="*/ 56 w 57"/>
                <a:gd name="T5" fmla="*/ 131 h 132"/>
                <a:gd name="T6" fmla="*/ 0 w 57"/>
                <a:gd name="T7" fmla="*/ 74 h 132"/>
                <a:gd name="T8" fmla="*/ 0 w 57"/>
                <a:gd name="T9" fmla="*/ 0 h 132"/>
                <a:gd name="T10" fmla="*/ 56 w 57"/>
                <a:gd name="T11" fmla="*/ 0 h 132"/>
                <a:gd name="T12" fmla="*/ 56 w 57"/>
                <a:gd name="T13" fmla="*/ 13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132">
                  <a:moveTo>
                    <a:pt x="56" y="131"/>
                  </a:moveTo>
                  <a:lnTo>
                    <a:pt x="56" y="131"/>
                  </a:lnTo>
                  <a:lnTo>
                    <a:pt x="56" y="131"/>
                  </a:lnTo>
                  <a:cubicBezTo>
                    <a:pt x="25" y="131"/>
                    <a:pt x="0" y="106"/>
                    <a:pt x="0" y="74"/>
                  </a:cubicBezTo>
                  <a:lnTo>
                    <a:pt x="0" y="0"/>
                  </a:lnTo>
                  <a:lnTo>
                    <a:pt x="56" y="0"/>
                  </a:lnTo>
                  <a:lnTo>
                    <a:pt x="56" y="131"/>
                  </a:lnTo>
                </a:path>
              </a:pathLst>
            </a:custGeom>
            <a:solidFill>
              <a:srgbClr val="FCC0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3" name="Freeform 139">
              <a:extLst>
                <a:ext uri="{FF2B5EF4-FFF2-40B4-BE49-F238E27FC236}">
                  <a16:creationId xmlns:a16="http://schemas.microsoft.com/office/drawing/2014/main" id="{776897AE-FC15-6544-F6CA-DD84BEF3C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76102" y="5595064"/>
              <a:ext cx="870953" cy="997848"/>
            </a:xfrm>
            <a:custGeom>
              <a:avLst/>
              <a:gdLst>
                <a:gd name="T0" fmla="*/ 0 w 668"/>
                <a:gd name="T1" fmla="*/ 427 h 761"/>
                <a:gd name="T2" fmla="*/ 0 w 668"/>
                <a:gd name="T3" fmla="*/ 427 h 761"/>
                <a:gd name="T4" fmla="*/ 322 w 668"/>
                <a:gd name="T5" fmla="*/ 760 h 761"/>
                <a:gd name="T6" fmla="*/ 322 w 668"/>
                <a:gd name="T7" fmla="*/ 760 h 761"/>
                <a:gd name="T8" fmla="*/ 667 w 668"/>
                <a:gd name="T9" fmla="*/ 247 h 761"/>
                <a:gd name="T10" fmla="*/ 667 w 668"/>
                <a:gd name="T11" fmla="*/ 247 h 761"/>
                <a:gd name="T12" fmla="*/ 624 w 668"/>
                <a:gd name="T13" fmla="*/ 0 h 761"/>
                <a:gd name="T14" fmla="*/ 624 w 668"/>
                <a:gd name="T15" fmla="*/ 0 h 761"/>
                <a:gd name="T16" fmla="*/ 0 w 668"/>
                <a:gd name="T17" fmla="*/ 427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8" h="761">
                  <a:moveTo>
                    <a:pt x="0" y="427"/>
                  </a:moveTo>
                  <a:lnTo>
                    <a:pt x="0" y="427"/>
                  </a:lnTo>
                  <a:cubicBezTo>
                    <a:pt x="48" y="622"/>
                    <a:pt x="174" y="760"/>
                    <a:pt x="322" y="760"/>
                  </a:cubicBezTo>
                  <a:lnTo>
                    <a:pt x="322" y="760"/>
                  </a:lnTo>
                  <a:cubicBezTo>
                    <a:pt x="512" y="760"/>
                    <a:pt x="667" y="530"/>
                    <a:pt x="667" y="247"/>
                  </a:cubicBezTo>
                  <a:lnTo>
                    <a:pt x="667" y="247"/>
                  </a:lnTo>
                  <a:cubicBezTo>
                    <a:pt x="667" y="158"/>
                    <a:pt x="651" y="73"/>
                    <a:pt x="624" y="0"/>
                  </a:cubicBezTo>
                  <a:lnTo>
                    <a:pt x="624" y="0"/>
                  </a:lnTo>
                  <a:cubicBezTo>
                    <a:pt x="503" y="402"/>
                    <a:pt x="173" y="439"/>
                    <a:pt x="0" y="427"/>
                  </a:cubicBezTo>
                </a:path>
              </a:pathLst>
            </a:custGeom>
            <a:solidFill>
              <a:srgbClr val="FCC03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4" name="Freeform 140">
              <a:extLst>
                <a:ext uri="{FF2B5EF4-FFF2-40B4-BE49-F238E27FC236}">
                  <a16:creationId xmlns:a16="http://schemas.microsoft.com/office/drawing/2014/main" id="{8E97D1AE-B13B-D33C-A0F5-44FBBBC3A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52962" y="5658508"/>
              <a:ext cx="207645" cy="594098"/>
            </a:xfrm>
            <a:custGeom>
              <a:avLst/>
              <a:gdLst>
                <a:gd name="T0" fmla="*/ 158 w 159"/>
                <a:gd name="T1" fmla="*/ 118 h 456"/>
                <a:gd name="T2" fmla="*/ 158 w 159"/>
                <a:gd name="T3" fmla="*/ 118 h 456"/>
                <a:gd name="T4" fmla="*/ 79 w 159"/>
                <a:gd name="T5" fmla="*/ 0 h 456"/>
                <a:gd name="T6" fmla="*/ 79 w 159"/>
                <a:gd name="T7" fmla="*/ 0 h 456"/>
                <a:gd name="T8" fmla="*/ 0 w 159"/>
                <a:gd name="T9" fmla="*/ 118 h 456"/>
                <a:gd name="T10" fmla="*/ 0 w 159"/>
                <a:gd name="T11" fmla="*/ 118 h 456"/>
                <a:gd name="T12" fmla="*/ 36 w 159"/>
                <a:gd name="T13" fmla="*/ 210 h 456"/>
                <a:gd name="T14" fmla="*/ 36 w 159"/>
                <a:gd name="T15" fmla="*/ 210 h 456"/>
                <a:gd name="T16" fmla="*/ 40 w 159"/>
                <a:gd name="T17" fmla="*/ 226 h 456"/>
                <a:gd name="T18" fmla="*/ 40 w 159"/>
                <a:gd name="T19" fmla="*/ 226 h 456"/>
                <a:gd name="T20" fmla="*/ 17 w 159"/>
                <a:gd name="T21" fmla="*/ 367 h 456"/>
                <a:gd name="T22" fmla="*/ 17 w 159"/>
                <a:gd name="T23" fmla="*/ 367 h 456"/>
                <a:gd name="T24" fmla="*/ 133 w 159"/>
                <a:gd name="T25" fmla="*/ 367 h 456"/>
                <a:gd name="T26" fmla="*/ 133 w 159"/>
                <a:gd name="T27" fmla="*/ 367 h 456"/>
                <a:gd name="T28" fmla="*/ 107 w 159"/>
                <a:gd name="T29" fmla="*/ 229 h 456"/>
                <a:gd name="T30" fmla="*/ 107 w 159"/>
                <a:gd name="T31" fmla="*/ 229 h 456"/>
                <a:gd name="T32" fmla="*/ 113 w 159"/>
                <a:gd name="T33" fmla="*/ 210 h 456"/>
                <a:gd name="T34" fmla="*/ 113 w 159"/>
                <a:gd name="T35" fmla="*/ 210 h 456"/>
                <a:gd name="T36" fmla="*/ 158 w 159"/>
                <a:gd name="T37" fmla="*/ 11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9" h="456">
                  <a:moveTo>
                    <a:pt x="158" y="118"/>
                  </a:moveTo>
                  <a:lnTo>
                    <a:pt x="158" y="118"/>
                  </a:lnTo>
                  <a:cubicBezTo>
                    <a:pt x="158" y="53"/>
                    <a:pt x="122" y="0"/>
                    <a:pt x="79" y="0"/>
                  </a:cubicBezTo>
                  <a:lnTo>
                    <a:pt x="79" y="0"/>
                  </a:lnTo>
                  <a:cubicBezTo>
                    <a:pt x="36" y="0"/>
                    <a:pt x="0" y="53"/>
                    <a:pt x="0" y="118"/>
                  </a:cubicBezTo>
                  <a:lnTo>
                    <a:pt x="0" y="118"/>
                  </a:lnTo>
                  <a:cubicBezTo>
                    <a:pt x="0" y="156"/>
                    <a:pt x="17" y="189"/>
                    <a:pt x="36" y="210"/>
                  </a:cubicBezTo>
                  <a:lnTo>
                    <a:pt x="36" y="210"/>
                  </a:lnTo>
                  <a:cubicBezTo>
                    <a:pt x="40" y="215"/>
                    <a:pt x="42" y="221"/>
                    <a:pt x="40" y="226"/>
                  </a:cubicBezTo>
                  <a:lnTo>
                    <a:pt x="40" y="226"/>
                  </a:lnTo>
                  <a:cubicBezTo>
                    <a:pt x="34" y="252"/>
                    <a:pt x="17" y="325"/>
                    <a:pt x="17" y="367"/>
                  </a:cubicBezTo>
                  <a:lnTo>
                    <a:pt x="17" y="367"/>
                  </a:lnTo>
                  <a:cubicBezTo>
                    <a:pt x="17" y="455"/>
                    <a:pt x="133" y="455"/>
                    <a:pt x="133" y="367"/>
                  </a:cubicBezTo>
                  <a:lnTo>
                    <a:pt x="133" y="367"/>
                  </a:lnTo>
                  <a:cubicBezTo>
                    <a:pt x="133" y="328"/>
                    <a:pt x="115" y="256"/>
                    <a:pt x="107" y="229"/>
                  </a:cubicBezTo>
                  <a:lnTo>
                    <a:pt x="107" y="229"/>
                  </a:lnTo>
                  <a:cubicBezTo>
                    <a:pt x="105" y="221"/>
                    <a:pt x="108" y="214"/>
                    <a:pt x="113" y="210"/>
                  </a:cubicBezTo>
                  <a:lnTo>
                    <a:pt x="113" y="210"/>
                  </a:lnTo>
                  <a:cubicBezTo>
                    <a:pt x="136" y="191"/>
                    <a:pt x="158" y="161"/>
                    <a:pt x="158" y="118"/>
                  </a:cubicBezTo>
                </a:path>
              </a:pathLst>
            </a:custGeom>
            <a:solidFill>
              <a:srgbClr val="E2983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5" name="Freeform 65">
              <a:extLst>
                <a:ext uri="{FF2B5EF4-FFF2-40B4-BE49-F238E27FC236}">
                  <a16:creationId xmlns:a16="http://schemas.microsoft.com/office/drawing/2014/main" id="{0032153E-1CA6-5212-1C0E-760A968A49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10709" y="4845232"/>
              <a:ext cx="708181" cy="315919"/>
            </a:xfrm>
            <a:custGeom>
              <a:avLst/>
              <a:gdLst>
                <a:gd name="connsiteX0" fmla="*/ 644222 w 674433"/>
                <a:gd name="connsiteY0" fmla="*/ 104365 h 300864"/>
                <a:gd name="connsiteX1" fmla="*/ 674433 w 674433"/>
                <a:gd name="connsiteY1" fmla="*/ 134403 h 300864"/>
                <a:gd name="connsiteX2" fmla="*/ 674433 w 674433"/>
                <a:gd name="connsiteY2" fmla="*/ 269574 h 300864"/>
                <a:gd name="connsiteX3" fmla="*/ 644222 w 674433"/>
                <a:gd name="connsiteY3" fmla="*/ 300864 h 300864"/>
                <a:gd name="connsiteX4" fmla="*/ 615220 w 674433"/>
                <a:gd name="connsiteY4" fmla="*/ 269574 h 300864"/>
                <a:gd name="connsiteX5" fmla="*/ 615220 w 674433"/>
                <a:gd name="connsiteY5" fmla="*/ 134403 h 300864"/>
                <a:gd name="connsiteX6" fmla="*/ 644222 w 674433"/>
                <a:gd name="connsiteY6" fmla="*/ 104365 h 300864"/>
                <a:gd name="connsiteX7" fmla="*/ 32336 w 674433"/>
                <a:gd name="connsiteY7" fmla="*/ 0 h 300864"/>
                <a:gd name="connsiteX8" fmla="*/ 64672 w 674433"/>
                <a:gd name="connsiteY8" fmla="*/ 32693 h 300864"/>
                <a:gd name="connsiteX9" fmla="*/ 64672 w 674433"/>
                <a:gd name="connsiteY9" fmla="*/ 103108 h 300864"/>
                <a:gd name="connsiteX10" fmla="*/ 0 w 674433"/>
                <a:gd name="connsiteY10" fmla="*/ 103108 h 300864"/>
                <a:gd name="connsiteX11" fmla="*/ 0 w 674433"/>
                <a:gd name="connsiteY11" fmla="*/ 32693 h 300864"/>
                <a:gd name="connsiteX12" fmla="*/ 32336 w 674433"/>
                <a:gd name="connsiteY12" fmla="*/ 0 h 300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4433" h="300864">
                  <a:moveTo>
                    <a:pt x="644222" y="104365"/>
                  </a:moveTo>
                  <a:cubicBezTo>
                    <a:pt x="661140" y="104365"/>
                    <a:pt x="674433" y="118133"/>
                    <a:pt x="674433" y="134403"/>
                  </a:cubicBezTo>
                  <a:lnTo>
                    <a:pt x="674433" y="269574"/>
                  </a:lnTo>
                  <a:cubicBezTo>
                    <a:pt x="674433" y="285845"/>
                    <a:pt x="661140" y="300864"/>
                    <a:pt x="644222" y="300864"/>
                  </a:cubicBezTo>
                  <a:cubicBezTo>
                    <a:pt x="628513" y="300864"/>
                    <a:pt x="615220" y="285845"/>
                    <a:pt x="615220" y="269574"/>
                  </a:cubicBezTo>
                  <a:lnTo>
                    <a:pt x="615220" y="134403"/>
                  </a:lnTo>
                  <a:cubicBezTo>
                    <a:pt x="615220" y="118133"/>
                    <a:pt x="628513" y="104365"/>
                    <a:pt x="644222" y="104365"/>
                  </a:cubicBezTo>
                  <a:close/>
                  <a:moveTo>
                    <a:pt x="32336" y="0"/>
                  </a:moveTo>
                  <a:cubicBezTo>
                    <a:pt x="49748" y="0"/>
                    <a:pt x="64672" y="15089"/>
                    <a:pt x="64672" y="32693"/>
                  </a:cubicBezTo>
                  <a:lnTo>
                    <a:pt x="64672" y="103108"/>
                  </a:lnTo>
                  <a:lnTo>
                    <a:pt x="0" y="103108"/>
                  </a:lnTo>
                  <a:lnTo>
                    <a:pt x="0" y="32693"/>
                  </a:lnTo>
                  <a:cubicBezTo>
                    <a:pt x="0" y="15089"/>
                    <a:pt x="14924" y="0"/>
                    <a:pt x="3233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6" name="Freeform 142">
              <a:extLst>
                <a:ext uri="{FF2B5EF4-FFF2-40B4-BE49-F238E27FC236}">
                  <a16:creationId xmlns:a16="http://schemas.microsoft.com/office/drawing/2014/main" id="{C75D08AF-7C62-1A6B-A6DF-0ADB0F0E9E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21906" y="6281441"/>
              <a:ext cx="305697" cy="438362"/>
            </a:xfrm>
            <a:custGeom>
              <a:avLst/>
              <a:gdLst>
                <a:gd name="T0" fmla="*/ 119 w 232"/>
                <a:gd name="T1" fmla="*/ 86 h 336"/>
                <a:gd name="T2" fmla="*/ 195 w 232"/>
                <a:gd name="T3" fmla="*/ 28 h 336"/>
                <a:gd name="T4" fmla="*/ 0 w 232"/>
                <a:gd name="T5" fmla="*/ 0 h 336"/>
                <a:gd name="T6" fmla="*/ 83 w 232"/>
                <a:gd name="T7" fmla="*/ 112 h 336"/>
                <a:gd name="T8" fmla="*/ 93 w 232"/>
                <a:gd name="T9" fmla="*/ 105 h 336"/>
                <a:gd name="T10" fmla="*/ 93 w 232"/>
                <a:gd name="T11" fmla="*/ 105 h 336"/>
                <a:gd name="T12" fmla="*/ 98 w 232"/>
                <a:gd name="T13" fmla="*/ 314 h 336"/>
                <a:gd name="T14" fmla="*/ 123 w 232"/>
                <a:gd name="T15" fmla="*/ 335 h 336"/>
                <a:gd name="T16" fmla="*/ 123 w 232"/>
                <a:gd name="T17" fmla="*/ 335 h 336"/>
                <a:gd name="T18" fmla="*/ 119 w 232"/>
                <a:gd name="T19" fmla="*/ 8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2" h="336">
                  <a:moveTo>
                    <a:pt x="119" y="86"/>
                  </a:moveTo>
                  <a:lnTo>
                    <a:pt x="195" y="28"/>
                  </a:lnTo>
                  <a:lnTo>
                    <a:pt x="0" y="0"/>
                  </a:lnTo>
                  <a:lnTo>
                    <a:pt x="83" y="112"/>
                  </a:lnTo>
                  <a:lnTo>
                    <a:pt x="93" y="105"/>
                  </a:lnTo>
                  <a:lnTo>
                    <a:pt x="93" y="105"/>
                  </a:lnTo>
                  <a:cubicBezTo>
                    <a:pt x="189" y="200"/>
                    <a:pt x="102" y="309"/>
                    <a:pt x="98" y="314"/>
                  </a:cubicBezTo>
                  <a:lnTo>
                    <a:pt x="123" y="335"/>
                  </a:lnTo>
                  <a:lnTo>
                    <a:pt x="123" y="335"/>
                  </a:lnTo>
                  <a:cubicBezTo>
                    <a:pt x="124" y="333"/>
                    <a:pt x="231" y="201"/>
                    <a:pt x="119" y="86"/>
                  </a:cubicBezTo>
                </a:path>
              </a:pathLst>
            </a:custGeom>
            <a:solidFill>
              <a:srgbClr val="050EA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7" name="Freeform 143">
              <a:extLst>
                <a:ext uri="{FF2B5EF4-FFF2-40B4-BE49-F238E27FC236}">
                  <a16:creationId xmlns:a16="http://schemas.microsoft.com/office/drawing/2014/main" id="{758ABF8A-B66B-C1E9-5C80-1947D1445E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64500" y="6373727"/>
              <a:ext cx="2751293" cy="2745528"/>
            </a:xfrm>
            <a:custGeom>
              <a:avLst/>
              <a:gdLst>
                <a:gd name="T0" fmla="*/ 2101 w 2102"/>
                <a:gd name="T1" fmla="*/ 0 h 2099"/>
                <a:gd name="T2" fmla="*/ 0 w 2102"/>
                <a:gd name="T3" fmla="*/ 251 h 2099"/>
                <a:gd name="T4" fmla="*/ 0 w 2102"/>
                <a:gd name="T5" fmla="*/ 1846 h 2099"/>
                <a:gd name="T6" fmla="*/ 2101 w 2102"/>
                <a:gd name="T7" fmla="*/ 2098 h 2099"/>
                <a:gd name="T8" fmla="*/ 2101 w 2102"/>
                <a:gd name="T9" fmla="*/ 0 h 20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2" h="2099">
                  <a:moveTo>
                    <a:pt x="2101" y="0"/>
                  </a:moveTo>
                  <a:lnTo>
                    <a:pt x="0" y="251"/>
                  </a:lnTo>
                  <a:lnTo>
                    <a:pt x="0" y="1846"/>
                  </a:lnTo>
                  <a:lnTo>
                    <a:pt x="2101" y="2098"/>
                  </a:lnTo>
                  <a:lnTo>
                    <a:pt x="2101" y="0"/>
                  </a:lnTo>
                </a:path>
              </a:pathLst>
            </a:custGeom>
            <a:gradFill>
              <a:gsLst>
                <a:gs pos="66000">
                  <a:srgbClr val="A546A3"/>
                </a:gs>
                <a:gs pos="0">
                  <a:srgbClr val="6C3CAB"/>
                </a:gs>
                <a:gs pos="92000">
                  <a:srgbClr val="DD4F9A"/>
                </a:gs>
              </a:gsLst>
              <a:lin ang="13500000" scaled="0"/>
            </a:gra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8" name="Freeform 144">
              <a:extLst>
                <a:ext uri="{FF2B5EF4-FFF2-40B4-BE49-F238E27FC236}">
                  <a16:creationId xmlns:a16="http://schemas.microsoft.com/office/drawing/2014/main" id="{6D3EAA31-0536-CF50-D772-99862B4FEE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5794" y="6373727"/>
              <a:ext cx="34607" cy="2745528"/>
            </a:xfrm>
            <a:custGeom>
              <a:avLst/>
              <a:gdLst>
                <a:gd name="T0" fmla="*/ 0 w 27"/>
                <a:gd name="T1" fmla="*/ 0 h 2099"/>
                <a:gd name="T2" fmla="*/ 26 w 27"/>
                <a:gd name="T3" fmla="*/ 0 h 2099"/>
                <a:gd name="T4" fmla="*/ 26 w 27"/>
                <a:gd name="T5" fmla="*/ 2072 h 2099"/>
                <a:gd name="T6" fmla="*/ 0 w 27"/>
                <a:gd name="T7" fmla="*/ 2098 h 2099"/>
                <a:gd name="T8" fmla="*/ 0 w 27"/>
                <a:gd name="T9" fmla="*/ 0 h 20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099">
                  <a:moveTo>
                    <a:pt x="0" y="0"/>
                  </a:moveTo>
                  <a:lnTo>
                    <a:pt x="26" y="0"/>
                  </a:lnTo>
                  <a:lnTo>
                    <a:pt x="26" y="2072"/>
                  </a:lnTo>
                  <a:lnTo>
                    <a:pt x="0" y="2098"/>
                  </a:lnTo>
                  <a:lnTo>
                    <a:pt x="0" y="0"/>
                  </a:lnTo>
                </a:path>
              </a:pathLst>
            </a:custGeom>
            <a:solidFill>
              <a:srgbClr val="443F9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29" name="Freeform 145">
              <a:extLst>
                <a:ext uri="{FF2B5EF4-FFF2-40B4-BE49-F238E27FC236}">
                  <a16:creationId xmlns:a16="http://schemas.microsoft.com/office/drawing/2014/main" id="{D8933B18-66BF-061C-12A5-40BA8CB4D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83681" y="7048575"/>
              <a:ext cx="1943786" cy="478735"/>
            </a:xfrm>
            <a:custGeom>
              <a:avLst/>
              <a:gdLst>
                <a:gd name="T0" fmla="*/ 0 w 1486"/>
                <a:gd name="T1" fmla="*/ 90 h 366"/>
                <a:gd name="T2" fmla="*/ 0 w 1486"/>
                <a:gd name="T3" fmla="*/ 365 h 366"/>
                <a:gd name="T4" fmla="*/ 1485 w 1486"/>
                <a:gd name="T5" fmla="*/ 274 h 366"/>
                <a:gd name="T6" fmla="*/ 1485 w 1486"/>
                <a:gd name="T7" fmla="*/ 0 h 366"/>
                <a:gd name="T8" fmla="*/ 0 w 1486"/>
                <a:gd name="T9" fmla="*/ 9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6" h="366">
                  <a:moveTo>
                    <a:pt x="0" y="90"/>
                  </a:moveTo>
                  <a:lnTo>
                    <a:pt x="0" y="365"/>
                  </a:lnTo>
                  <a:lnTo>
                    <a:pt x="1485" y="274"/>
                  </a:lnTo>
                  <a:lnTo>
                    <a:pt x="1485" y="0"/>
                  </a:lnTo>
                  <a:lnTo>
                    <a:pt x="0" y="9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0" name="Freeform 70">
              <a:extLst>
                <a:ext uri="{FF2B5EF4-FFF2-40B4-BE49-F238E27FC236}">
                  <a16:creationId xmlns:a16="http://schemas.microsoft.com/office/drawing/2014/main" id="{5ECF773A-0A58-CFC4-AC03-840B4E93F6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83677" y="7031270"/>
              <a:ext cx="344924" cy="108249"/>
            </a:xfrm>
            <a:custGeom>
              <a:avLst/>
              <a:gdLst>
                <a:gd name="connsiteX0" fmla="*/ 266624 w 328487"/>
                <a:gd name="connsiteY0" fmla="*/ 56762 h 103090"/>
                <a:gd name="connsiteX1" fmla="*/ 256483 w 328487"/>
                <a:gd name="connsiteY1" fmla="*/ 59204 h 103090"/>
                <a:gd name="connsiteX2" fmla="*/ 246342 w 328487"/>
                <a:gd name="connsiteY2" fmla="*/ 61645 h 103090"/>
                <a:gd name="connsiteX3" fmla="*/ 232398 w 328487"/>
                <a:gd name="connsiteY3" fmla="*/ 65307 h 103090"/>
                <a:gd name="connsiteX4" fmla="*/ 227328 w 328487"/>
                <a:gd name="connsiteY4" fmla="*/ 75072 h 103090"/>
                <a:gd name="connsiteX5" fmla="*/ 228595 w 328487"/>
                <a:gd name="connsiteY5" fmla="*/ 79955 h 103090"/>
                <a:gd name="connsiteX6" fmla="*/ 232398 w 328487"/>
                <a:gd name="connsiteY6" fmla="*/ 83617 h 103090"/>
                <a:gd name="connsiteX7" fmla="*/ 237469 w 328487"/>
                <a:gd name="connsiteY7" fmla="*/ 84838 h 103090"/>
                <a:gd name="connsiteX8" fmla="*/ 243807 w 328487"/>
                <a:gd name="connsiteY8" fmla="*/ 86058 h 103090"/>
                <a:gd name="connsiteX9" fmla="*/ 251412 w 328487"/>
                <a:gd name="connsiteY9" fmla="*/ 84838 h 103090"/>
                <a:gd name="connsiteX10" fmla="*/ 260286 w 328487"/>
                <a:gd name="connsiteY10" fmla="*/ 81176 h 103090"/>
                <a:gd name="connsiteX11" fmla="*/ 265356 w 328487"/>
                <a:gd name="connsiteY11" fmla="*/ 75072 h 103090"/>
                <a:gd name="connsiteX12" fmla="*/ 267891 w 328487"/>
                <a:gd name="connsiteY12" fmla="*/ 66528 h 103090"/>
                <a:gd name="connsiteX13" fmla="*/ 248877 w 328487"/>
                <a:gd name="connsiteY13" fmla="*/ 27466 h 103090"/>
                <a:gd name="connsiteX14" fmla="*/ 257750 w 328487"/>
                <a:gd name="connsiteY14" fmla="*/ 27466 h 103090"/>
                <a:gd name="connsiteX15" fmla="*/ 265356 w 328487"/>
                <a:gd name="connsiteY15" fmla="*/ 31128 h 103090"/>
                <a:gd name="connsiteX16" fmla="*/ 271694 w 328487"/>
                <a:gd name="connsiteY16" fmla="*/ 36011 h 103090"/>
                <a:gd name="connsiteX17" fmla="*/ 274229 w 328487"/>
                <a:gd name="connsiteY17" fmla="*/ 44556 h 103090"/>
                <a:gd name="connsiteX18" fmla="*/ 275497 w 328487"/>
                <a:gd name="connsiteY18" fmla="*/ 78734 h 103090"/>
                <a:gd name="connsiteX19" fmla="*/ 278032 w 328487"/>
                <a:gd name="connsiteY19" fmla="*/ 83617 h 103090"/>
                <a:gd name="connsiteX20" fmla="*/ 284370 w 328487"/>
                <a:gd name="connsiteY20" fmla="*/ 83617 h 103090"/>
                <a:gd name="connsiteX21" fmla="*/ 284370 w 328487"/>
                <a:gd name="connsiteY21" fmla="*/ 88500 h 103090"/>
                <a:gd name="connsiteX22" fmla="*/ 281835 w 328487"/>
                <a:gd name="connsiteY22" fmla="*/ 88500 h 103090"/>
                <a:gd name="connsiteX23" fmla="*/ 278032 w 328487"/>
                <a:gd name="connsiteY23" fmla="*/ 89720 h 103090"/>
                <a:gd name="connsiteX24" fmla="*/ 274229 w 328487"/>
                <a:gd name="connsiteY24" fmla="*/ 89720 h 103090"/>
                <a:gd name="connsiteX25" fmla="*/ 271694 w 328487"/>
                <a:gd name="connsiteY25" fmla="*/ 88500 h 103090"/>
                <a:gd name="connsiteX26" fmla="*/ 270427 w 328487"/>
                <a:gd name="connsiteY26" fmla="*/ 86058 h 103090"/>
                <a:gd name="connsiteX27" fmla="*/ 267891 w 328487"/>
                <a:gd name="connsiteY27" fmla="*/ 83617 h 103090"/>
                <a:gd name="connsiteX28" fmla="*/ 267891 w 328487"/>
                <a:gd name="connsiteY28" fmla="*/ 81176 h 103090"/>
                <a:gd name="connsiteX29" fmla="*/ 256483 w 328487"/>
                <a:gd name="connsiteY29" fmla="*/ 88500 h 103090"/>
                <a:gd name="connsiteX30" fmla="*/ 243807 w 328487"/>
                <a:gd name="connsiteY30" fmla="*/ 92162 h 103090"/>
                <a:gd name="connsiteX31" fmla="*/ 233666 w 328487"/>
                <a:gd name="connsiteY31" fmla="*/ 90941 h 103090"/>
                <a:gd name="connsiteX32" fmla="*/ 227328 w 328487"/>
                <a:gd name="connsiteY32" fmla="*/ 88500 h 103090"/>
                <a:gd name="connsiteX33" fmla="*/ 220990 w 328487"/>
                <a:gd name="connsiteY33" fmla="*/ 83617 h 103090"/>
                <a:gd name="connsiteX34" fmla="*/ 219722 w 328487"/>
                <a:gd name="connsiteY34" fmla="*/ 75072 h 103090"/>
                <a:gd name="connsiteX35" fmla="*/ 242539 w 328487"/>
                <a:gd name="connsiteY35" fmla="*/ 55542 h 103090"/>
                <a:gd name="connsiteX36" fmla="*/ 253948 w 328487"/>
                <a:gd name="connsiteY36" fmla="*/ 54321 h 103090"/>
                <a:gd name="connsiteX37" fmla="*/ 259018 w 328487"/>
                <a:gd name="connsiteY37" fmla="*/ 53100 h 103090"/>
                <a:gd name="connsiteX38" fmla="*/ 264089 w 328487"/>
                <a:gd name="connsiteY38" fmla="*/ 51880 h 103090"/>
                <a:gd name="connsiteX39" fmla="*/ 265356 w 328487"/>
                <a:gd name="connsiteY39" fmla="*/ 48218 h 103090"/>
                <a:gd name="connsiteX40" fmla="*/ 265356 w 328487"/>
                <a:gd name="connsiteY40" fmla="*/ 44556 h 103090"/>
                <a:gd name="connsiteX41" fmla="*/ 261553 w 328487"/>
                <a:gd name="connsiteY41" fmla="*/ 36011 h 103090"/>
                <a:gd name="connsiteX42" fmla="*/ 248877 w 328487"/>
                <a:gd name="connsiteY42" fmla="*/ 33570 h 103090"/>
                <a:gd name="connsiteX43" fmla="*/ 241271 w 328487"/>
                <a:gd name="connsiteY43" fmla="*/ 34790 h 103090"/>
                <a:gd name="connsiteX44" fmla="*/ 234933 w 328487"/>
                <a:gd name="connsiteY44" fmla="*/ 36011 h 103090"/>
                <a:gd name="connsiteX45" fmla="*/ 231131 w 328487"/>
                <a:gd name="connsiteY45" fmla="*/ 40894 h 103090"/>
                <a:gd name="connsiteX46" fmla="*/ 228595 w 328487"/>
                <a:gd name="connsiteY46" fmla="*/ 48218 h 103090"/>
                <a:gd name="connsiteX47" fmla="*/ 220990 w 328487"/>
                <a:gd name="connsiteY47" fmla="*/ 48218 h 103090"/>
                <a:gd name="connsiteX48" fmla="*/ 223525 w 328487"/>
                <a:gd name="connsiteY48" fmla="*/ 38452 h 103090"/>
                <a:gd name="connsiteX49" fmla="*/ 228595 w 328487"/>
                <a:gd name="connsiteY49" fmla="*/ 32349 h 103090"/>
                <a:gd name="connsiteX50" fmla="*/ 237469 w 328487"/>
                <a:gd name="connsiteY50" fmla="*/ 28687 h 103090"/>
                <a:gd name="connsiteX51" fmla="*/ 248877 w 328487"/>
                <a:gd name="connsiteY51" fmla="*/ 27466 h 103090"/>
                <a:gd name="connsiteX52" fmla="*/ 178672 w 328487"/>
                <a:gd name="connsiteY52" fmla="*/ 27466 h 103090"/>
                <a:gd name="connsiteX53" fmla="*/ 189730 w 328487"/>
                <a:gd name="connsiteY53" fmla="*/ 28665 h 103090"/>
                <a:gd name="connsiteX54" fmla="*/ 195874 w 328487"/>
                <a:gd name="connsiteY54" fmla="*/ 33459 h 103090"/>
                <a:gd name="connsiteX55" fmla="*/ 199560 w 328487"/>
                <a:gd name="connsiteY55" fmla="*/ 41848 h 103090"/>
                <a:gd name="connsiteX56" fmla="*/ 200789 w 328487"/>
                <a:gd name="connsiteY56" fmla="*/ 50237 h 103090"/>
                <a:gd name="connsiteX57" fmla="*/ 202017 w 328487"/>
                <a:gd name="connsiteY57" fmla="*/ 88588 h 103090"/>
                <a:gd name="connsiteX58" fmla="*/ 194645 w 328487"/>
                <a:gd name="connsiteY58" fmla="*/ 88588 h 103090"/>
                <a:gd name="connsiteX59" fmla="*/ 192188 w 328487"/>
                <a:gd name="connsiteY59" fmla="*/ 46642 h 103090"/>
                <a:gd name="connsiteX60" fmla="*/ 188502 w 328487"/>
                <a:gd name="connsiteY60" fmla="*/ 37054 h 103090"/>
                <a:gd name="connsiteX61" fmla="*/ 177443 w 328487"/>
                <a:gd name="connsiteY61" fmla="*/ 33459 h 103090"/>
                <a:gd name="connsiteX62" fmla="*/ 168842 w 328487"/>
                <a:gd name="connsiteY62" fmla="*/ 35856 h 103090"/>
                <a:gd name="connsiteX63" fmla="*/ 162699 w 328487"/>
                <a:gd name="connsiteY63" fmla="*/ 41848 h 103090"/>
                <a:gd name="connsiteX64" fmla="*/ 161470 w 328487"/>
                <a:gd name="connsiteY64" fmla="*/ 45443 h 103090"/>
                <a:gd name="connsiteX65" fmla="*/ 159013 w 328487"/>
                <a:gd name="connsiteY65" fmla="*/ 49039 h 103090"/>
                <a:gd name="connsiteX66" fmla="*/ 159013 w 328487"/>
                <a:gd name="connsiteY66" fmla="*/ 53833 h 103090"/>
                <a:gd name="connsiteX67" fmla="*/ 159013 w 328487"/>
                <a:gd name="connsiteY67" fmla="*/ 57428 h 103090"/>
                <a:gd name="connsiteX68" fmla="*/ 161470 w 328487"/>
                <a:gd name="connsiteY68" fmla="*/ 89787 h 103090"/>
                <a:gd name="connsiteX69" fmla="*/ 152869 w 328487"/>
                <a:gd name="connsiteY69" fmla="*/ 90985 h 103090"/>
                <a:gd name="connsiteX70" fmla="*/ 151641 w 328487"/>
                <a:gd name="connsiteY70" fmla="*/ 49039 h 103090"/>
                <a:gd name="connsiteX71" fmla="*/ 146726 w 328487"/>
                <a:gd name="connsiteY71" fmla="*/ 38253 h 103090"/>
                <a:gd name="connsiteX72" fmla="*/ 136896 w 328487"/>
                <a:gd name="connsiteY72" fmla="*/ 35856 h 103090"/>
                <a:gd name="connsiteX73" fmla="*/ 128295 w 328487"/>
                <a:gd name="connsiteY73" fmla="*/ 38253 h 103090"/>
                <a:gd name="connsiteX74" fmla="*/ 122152 w 328487"/>
                <a:gd name="connsiteY74" fmla="*/ 43046 h 103090"/>
                <a:gd name="connsiteX75" fmla="*/ 119695 w 328487"/>
                <a:gd name="connsiteY75" fmla="*/ 46642 h 103090"/>
                <a:gd name="connsiteX76" fmla="*/ 118466 w 328487"/>
                <a:gd name="connsiteY76" fmla="*/ 51436 h 103090"/>
                <a:gd name="connsiteX77" fmla="*/ 118466 w 328487"/>
                <a:gd name="connsiteY77" fmla="*/ 55031 h 103090"/>
                <a:gd name="connsiteX78" fmla="*/ 118466 w 328487"/>
                <a:gd name="connsiteY78" fmla="*/ 59825 h 103090"/>
                <a:gd name="connsiteX79" fmla="*/ 119695 w 328487"/>
                <a:gd name="connsiteY79" fmla="*/ 92184 h 103090"/>
                <a:gd name="connsiteX80" fmla="*/ 112322 w 328487"/>
                <a:gd name="connsiteY80" fmla="*/ 92184 h 103090"/>
                <a:gd name="connsiteX81" fmla="*/ 109865 w 328487"/>
                <a:gd name="connsiteY81" fmla="*/ 32260 h 103090"/>
                <a:gd name="connsiteX82" fmla="*/ 117237 w 328487"/>
                <a:gd name="connsiteY82" fmla="*/ 32260 h 103090"/>
                <a:gd name="connsiteX83" fmla="*/ 117237 w 328487"/>
                <a:gd name="connsiteY83" fmla="*/ 40649 h 103090"/>
                <a:gd name="connsiteX84" fmla="*/ 125838 w 328487"/>
                <a:gd name="connsiteY84" fmla="*/ 32260 h 103090"/>
                <a:gd name="connsiteX85" fmla="*/ 138125 w 328487"/>
                <a:gd name="connsiteY85" fmla="*/ 28665 h 103090"/>
                <a:gd name="connsiteX86" fmla="*/ 145497 w 328487"/>
                <a:gd name="connsiteY86" fmla="*/ 29863 h 103090"/>
                <a:gd name="connsiteX87" fmla="*/ 151641 w 328487"/>
                <a:gd name="connsiteY87" fmla="*/ 32260 h 103090"/>
                <a:gd name="connsiteX88" fmla="*/ 155327 w 328487"/>
                <a:gd name="connsiteY88" fmla="*/ 35856 h 103090"/>
                <a:gd name="connsiteX89" fmla="*/ 157784 w 328487"/>
                <a:gd name="connsiteY89" fmla="*/ 39451 h 103090"/>
                <a:gd name="connsiteX90" fmla="*/ 166385 w 328487"/>
                <a:gd name="connsiteY90" fmla="*/ 31062 h 103090"/>
                <a:gd name="connsiteX91" fmla="*/ 178672 w 328487"/>
                <a:gd name="connsiteY91" fmla="*/ 27466 h 103090"/>
                <a:gd name="connsiteX92" fmla="*/ 299123 w 328487"/>
                <a:gd name="connsiteY92" fmla="*/ 24414 h 103090"/>
                <a:gd name="connsiteX93" fmla="*/ 301120 w 328487"/>
                <a:gd name="connsiteY93" fmla="*/ 85448 h 103090"/>
                <a:gd name="connsiteX94" fmla="*/ 295128 w 328487"/>
                <a:gd name="connsiteY94" fmla="*/ 86669 h 103090"/>
                <a:gd name="connsiteX95" fmla="*/ 292132 w 328487"/>
                <a:gd name="connsiteY95" fmla="*/ 25635 h 103090"/>
                <a:gd name="connsiteX96" fmla="*/ 59924 w 328487"/>
                <a:gd name="connsiteY96" fmla="*/ 10985 h 103090"/>
                <a:gd name="connsiteX97" fmla="*/ 61122 w 328487"/>
                <a:gd name="connsiteY97" fmla="*/ 18661 h 103090"/>
                <a:gd name="connsiteX98" fmla="*/ 9588 w 328487"/>
                <a:gd name="connsiteY98" fmla="*/ 21219 h 103090"/>
                <a:gd name="connsiteX99" fmla="*/ 10786 w 328487"/>
                <a:gd name="connsiteY99" fmla="*/ 53200 h 103090"/>
                <a:gd name="connsiteX100" fmla="*/ 56328 w 328487"/>
                <a:gd name="connsiteY100" fmla="*/ 50641 h 103090"/>
                <a:gd name="connsiteX101" fmla="*/ 56328 w 328487"/>
                <a:gd name="connsiteY101" fmla="*/ 58317 h 103090"/>
                <a:gd name="connsiteX102" fmla="*/ 10786 w 328487"/>
                <a:gd name="connsiteY102" fmla="*/ 59596 h 103090"/>
                <a:gd name="connsiteX103" fmla="*/ 11985 w 328487"/>
                <a:gd name="connsiteY103" fmla="*/ 95415 h 103090"/>
                <a:gd name="connsiteX104" fmla="*/ 64718 w 328487"/>
                <a:gd name="connsiteY104" fmla="*/ 92856 h 103090"/>
                <a:gd name="connsiteX105" fmla="*/ 64718 w 328487"/>
                <a:gd name="connsiteY105" fmla="*/ 100532 h 103090"/>
                <a:gd name="connsiteX106" fmla="*/ 3595 w 328487"/>
                <a:gd name="connsiteY106" fmla="*/ 103090 h 103090"/>
                <a:gd name="connsiteX107" fmla="*/ 0 w 328487"/>
                <a:gd name="connsiteY107" fmla="*/ 13544 h 103090"/>
                <a:gd name="connsiteX108" fmla="*/ 318600 w 328487"/>
                <a:gd name="connsiteY108" fmla="*/ 0 h 103090"/>
                <a:gd name="connsiteX109" fmla="*/ 325192 w 328487"/>
                <a:gd name="connsiteY109" fmla="*/ 0 h 103090"/>
                <a:gd name="connsiteX110" fmla="*/ 328487 w 328487"/>
                <a:gd name="connsiteY110" fmla="*/ 86634 h 103090"/>
                <a:gd name="connsiteX111" fmla="*/ 321896 w 328487"/>
                <a:gd name="connsiteY111" fmla="*/ 86634 h 103090"/>
                <a:gd name="connsiteX112" fmla="*/ 298124 w 328487"/>
                <a:gd name="connsiteY112" fmla="*/ 0 h 103090"/>
                <a:gd name="connsiteX113" fmla="*/ 298124 w 328487"/>
                <a:gd name="connsiteY113" fmla="*/ 10986 h 103090"/>
                <a:gd name="connsiteX114" fmla="*/ 291133 w 328487"/>
                <a:gd name="connsiteY114" fmla="*/ 12207 h 103090"/>
                <a:gd name="connsiteX115" fmla="*/ 291133 w 328487"/>
                <a:gd name="connsiteY115" fmla="*/ 1220 h 103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328487" h="103090">
                  <a:moveTo>
                    <a:pt x="266624" y="56762"/>
                  </a:moveTo>
                  <a:cubicBezTo>
                    <a:pt x="264089" y="57983"/>
                    <a:pt x="260286" y="59204"/>
                    <a:pt x="256483" y="59204"/>
                  </a:cubicBezTo>
                  <a:cubicBezTo>
                    <a:pt x="253948" y="60424"/>
                    <a:pt x="248877" y="61645"/>
                    <a:pt x="246342" y="61645"/>
                  </a:cubicBezTo>
                  <a:cubicBezTo>
                    <a:pt x="240004" y="61645"/>
                    <a:pt x="234933" y="64086"/>
                    <a:pt x="232398" y="65307"/>
                  </a:cubicBezTo>
                  <a:cubicBezTo>
                    <a:pt x="228595" y="67748"/>
                    <a:pt x="227328" y="71410"/>
                    <a:pt x="227328" y="75072"/>
                  </a:cubicBezTo>
                  <a:cubicBezTo>
                    <a:pt x="227328" y="77514"/>
                    <a:pt x="228595" y="78734"/>
                    <a:pt x="228595" y="79955"/>
                  </a:cubicBezTo>
                  <a:cubicBezTo>
                    <a:pt x="229863" y="81176"/>
                    <a:pt x="232398" y="82396"/>
                    <a:pt x="232398" y="83617"/>
                  </a:cubicBezTo>
                  <a:cubicBezTo>
                    <a:pt x="233666" y="84838"/>
                    <a:pt x="234933" y="84838"/>
                    <a:pt x="237469" y="84838"/>
                  </a:cubicBezTo>
                  <a:cubicBezTo>
                    <a:pt x="240004" y="84838"/>
                    <a:pt x="241271" y="86058"/>
                    <a:pt x="243807" y="86058"/>
                  </a:cubicBezTo>
                  <a:cubicBezTo>
                    <a:pt x="246342" y="84838"/>
                    <a:pt x="248877" y="84838"/>
                    <a:pt x="251412" y="84838"/>
                  </a:cubicBezTo>
                  <a:cubicBezTo>
                    <a:pt x="255215" y="83617"/>
                    <a:pt x="257750" y="82396"/>
                    <a:pt x="260286" y="81176"/>
                  </a:cubicBezTo>
                  <a:cubicBezTo>
                    <a:pt x="261553" y="78734"/>
                    <a:pt x="264089" y="77514"/>
                    <a:pt x="265356" y="75072"/>
                  </a:cubicBezTo>
                  <a:cubicBezTo>
                    <a:pt x="266624" y="72631"/>
                    <a:pt x="267891" y="68969"/>
                    <a:pt x="267891" y="66528"/>
                  </a:cubicBezTo>
                  <a:close/>
                  <a:moveTo>
                    <a:pt x="248877" y="27466"/>
                  </a:moveTo>
                  <a:cubicBezTo>
                    <a:pt x="251412" y="27466"/>
                    <a:pt x="255215" y="27466"/>
                    <a:pt x="257750" y="27466"/>
                  </a:cubicBezTo>
                  <a:cubicBezTo>
                    <a:pt x="261553" y="28687"/>
                    <a:pt x="264089" y="28687"/>
                    <a:pt x="265356" y="31128"/>
                  </a:cubicBezTo>
                  <a:cubicBezTo>
                    <a:pt x="267891" y="32349"/>
                    <a:pt x="270427" y="33570"/>
                    <a:pt x="271694" y="36011"/>
                  </a:cubicBezTo>
                  <a:cubicBezTo>
                    <a:pt x="272962" y="38452"/>
                    <a:pt x="272962" y="40894"/>
                    <a:pt x="274229" y="44556"/>
                  </a:cubicBezTo>
                  <a:lnTo>
                    <a:pt x="275497" y="78734"/>
                  </a:lnTo>
                  <a:cubicBezTo>
                    <a:pt x="275497" y="81176"/>
                    <a:pt x="275497" y="83617"/>
                    <a:pt x="278032" y="83617"/>
                  </a:cubicBezTo>
                  <a:cubicBezTo>
                    <a:pt x="278032" y="84838"/>
                    <a:pt x="280568" y="83617"/>
                    <a:pt x="284370" y="83617"/>
                  </a:cubicBezTo>
                  <a:lnTo>
                    <a:pt x="284370" y="88500"/>
                  </a:lnTo>
                  <a:cubicBezTo>
                    <a:pt x="284370" y="88500"/>
                    <a:pt x="283103" y="88500"/>
                    <a:pt x="281835" y="88500"/>
                  </a:cubicBezTo>
                  <a:cubicBezTo>
                    <a:pt x="280568" y="89720"/>
                    <a:pt x="279300" y="89720"/>
                    <a:pt x="278032" y="89720"/>
                  </a:cubicBezTo>
                  <a:cubicBezTo>
                    <a:pt x="276765" y="89720"/>
                    <a:pt x="275497" y="89720"/>
                    <a:pt x="274229" y="89720"/>
                  </a:cubicBezTo>
                  <a:cubicBezTo>
                    <a:pt x="272962" y="89720"/>
                    <a:pt x="271694" y="88500"/>
                    <a:pt x="271694" y="88500"/>
                  </a:cubicBezTo>
                  <a:cubicBezTo>
                    <a:pt x="270427" y="88500"/>
                    <a:pt x="270427" y="87279"/>
                    <a:pt x="270427" y="86058"/>
                  </a:cubicBezTo>
                  <a:cubicBezTo>
                    <a:pt x="269159" y="86058"/>
                    <a:pt x="267891" y="84838"/>
                    <a:pt x="267891" y="83617"/>
                  </a:cubicBezTo>
                  <a:lnTo>
                    <a:pt x="267891" y="81176"/>
                  </a:lnTo>
                  <a:cubicBezTo>
                    <a:pt x="265356" y="84838"/>
                    <a:pt x="261553" y="86058"/>
                    <a:pt x="256483" y="88500"/>
                  </a:cubicBezTo>
                  <a:cubicBezTo>
                    <a:pt x="252680" y="90941"/>
                    <a:pt x="247610" y="92162"/>
                    <a:pt x="243807" y="92162"/>
                  </a:cubicBezTo>
                  <a:cubicBezTo>
                    <a:pt x="240004" y="92162"/>
                    <a:pt x="237469" y="92162"/>
                    <a:pt x="233666" y="90941"/>
                  </a:cubicBezTo>
                  <a:cubicBezTo>
                    <a:pt x="232398" y="90941"/>
                    <a:pt x="228595" y="89720"/>
                    <a:pt x="227328" y="88500"/>
                  </a:cubicBezTo>
                  <a:cubicBezTo>
                    <a:pt x="224792" y="86058"/>
                    <a:pt x="223525" y="84838"/>
                    <a:pt x="220990" y="83617"/>
                  </a:cubicBezTo>
                  <a:cubicBezTo>
                    <a:pt x="219722" y="81176"/>
                    <a:pt x="219722" y="78734"/>
                    <a:pt x="219722" y="75072"/>
                  </a:cubicBezTo>
                  <a:cubicBezTo>
                    <a:pt x="219722" y="65307"/>
                    <a:pt x="226060" y="57983"/>
                    <a:pt x="242539" y="55542"/>
                  </a:cubicBezTo>
                  <a:lnTo>
                    <a:pt x="253948" y="54321"/>
                  </a:lnTo>
                  <a:cubicBezTo>
                    <a:pt x="255215" y="54321"/>
                    <a:pt x="256483" y="54321"/>
                    <a:pt x="259018" y="53100"/>
                  </a:cubicBezTo>
                  <a:cubicBezTo>
                    <a:pt x="260286" y="53100"/>
                    <a:pt x="261553" y="51880"/>
                    <a:pt x="264089" y="51880"/>
                  </a:cubicBezTo>
                  <a:cubicBezTo>
                    <a:pt x="265356" y="50659"/>
                    <a:pt x="265356" y="49438"/>
                    <a:pt x="265356" y="48218"/>
                  </a:cubicBezTo>
                  <a:cubicBezTo>
                    <a:pt x="265356" y="46997"/>
                    <a:pt x="265356" y="46997"/>
                    <a:pt x="265356" y="44556"/>
                  </a:cubicBezTo>
                  <a:cubicBezTo>
                    <a:pt x="265356" y="42114"/>
                    <a:pt x="264089" y="38452"/>
                    <a:pt x="261553" y="36011"/>
                  </a:cubicBezTo>
                  <a:cubicBezTo>
                    <a:pt x="259018" y="34790"/>
                    <a:pt x="255215" y="33570"/>
                    <a:pt x="248877" y="33570"/>
                  </a:cubicBezTo>
                  <a:cubicBezTo>
                    <a:pt x="245074" y="33570"/>
                    <a:pt x="243807" y="33570"/>
                    <a:pt x="241271" y="34790"/>
                  </a:cubicBezTo>
                  <a:cubicBezTo>
                    <a:pt x="238736" y="34790"/>
                    <a:pt x="237469" y="36011"/>
                    <a:pt x="234933" y="36011"/>
                  </a:cubicBezTo>
                  <a:cubicBezTo>
                    <a:pt x="233666" y="38452"/>
                    <a:pt x="232398" y="39673"/>
                    <a:pt x="231131" y="40894"/>
                  </a:cubicBezTo>
                  <a:cubicBezTo>
                    <a:pt x="229863" y="43335"/>
                    <a:pt x="228595" y="45776"/>
                    <a:pt x="228595" y="48218"/>
                  </a:cubicBezTo>
                  <a:lnTo>
                    <a:pt x="220990" y="48218"/>
                  </a:lnTo>
                  <a:cubicBezTo>
                    <a:pt x="220990" y="44556"/>
                    <a:pt x="222257" y="42114"/>
                    <a:pt x="223525" y="38452"/>
                  </a:cubicBezTo>
                  <a:cubicBezTo>
                    <a:pt x="226060" y="36011"/>
                    <a:pt x="227328" y="34790"/>
                    <a:pt x="228595" y="32349"/>
                  </a:cubicBezTo>
                  <a:cubicBezTo>
                    <a:pt x="232398" y="31128"/>
                    <a:pt x="234933" y="28687"/>
                    <a:pt x="237469" y="28687"/>
                  </a:cubicBezTo>
                  <a:cubicBezTo>
                    <a:pt x="241271" y="27466"/>
                    <a:pt x="245074" y="27466"/>
                    <a:pt x="248877" y="27466"/>
                  </a:cubicBezTo>
                  <a:close/>
                  <a:moveTo>
                    <a:pt x="178672" y="27466"/>
                  </a:moveTo>
                  <a:cubicBezTo>
                    <a:pt x="182358" y="27466"/>
                    <a:pt x="187273" y="27466"/>
                    <a:pt x="189730" y="28665"/>
                  </a:cubicBezTo>
                  <a:cubicBezTo>
                    <a:pt x="192188" y="31062"/>
                    <a:pt x="194645" y="32260"/>
                    <a:pt x="195874" y="33459"/>
                  </a:cubicBezTo>
                  <a:cubicBezTo>
                    <a:pt x="197103" y="35856"/>
                    <a:pt x="198331" y="38253"/>
                    <a:pt x="199560" y="41848"/>
                  </a:cubicBezTo>
                  <a:cubicBezTo>
                    <a:pt x="199560" y="44245"/>
                    <a:pt x="200789" y="46642"/>
                    <a:pt x="200789" y="50237"/>
                  </a:cubicBezTo>
                  <a:lnTo>
                    <a:pt x="202017" y="88588"/>
                  </a:lnTo>
                  <a:lnTo>
                    <a:pt x="194645" y="88588"/>
                  </a:lnTo>
                  <a:lnTo>
                    <a:pt x="192188" y="46642"/>
                  </a:lnTo>
                  <a:cubicBezTo>
                    <a:pt x="192188" y="43046"/>
                    <a:pt x="190959" y="39451"/>
                    <a:pt x="188502" y="37054"/>
                  </a:cubicBezTo>
                  <a:cubicBezTo>
                    <a:pt x="187273" y="34657"/>
                    <a:pt x="182358" y="33459"/>
                    <a:pt x="177443" y="33459"/>
                  </a:cubicBezTo>
                  <a:cubicBezTo>
                    <a:pt x="174986" y="33459"/>
                    <a:pt x="172529" y="34657"/>
                    <a:pt x="168842" y="35856"/>
                  </a:cubicBezTo>
                  <a:cubicBezTo>
                    <a:pt x="166385" y="37054"/>
                    <a:pt x="165156" y="39451"/>
                    <a:pt x="162699" y="41848"/>
                  </a:cubicBezTo>
                  <a:cubicBezTo>
                    <a:pt x="161470" y="41848"/>
                    <a:pt x="161470" y="44245"/>
                    <a:pt x="161470" y="45443"/>
                  </a:cubicBezTo>
                  <a:cubicBezTo>
                    <a:pt x="160242" y="46642"/>
                    <a:pt x="160242" y="47840"/>
                    <a:pt x="159013" y="49039"/>
                  </a:cubicBezTo>
                  <a:cubicBezTo>
                    <a:pt x="159013" y="51436"/>
                    <a:pt x="159013" y="52634"/>
                    <a:pt x="159013" y="53833"/>
                  </a:cubicBezTo>
                  <a:cubicBezTo>
                    <a:pt x="159013" y="55031"/>
                    <a:pt x="159013" y="56230"/>
                    <a:pt x="159013" y="57428"/>
                  </a:cubicBezTo>
                  <a:lnTo>
                    <a:pt x="161470" y="89787"/>
                  </a:lnTo>
                  <a:lnTo>
                    <a:pt x="152869" y="90985"/>
                  </a:lnTo>
                  <a:lnTo>
                    <a:pt x="151641" y="49039"/>
                  </a:lnTo>
                  <a:cubicBezTo>
                    <a:pt x="151641" y="44245"/>
                    <a:pt x="150412" y="41848"/>
                    <a:pt x="146726" y="38253"/>
                  </a:cubicBezTo>
                  <a:cubicBezTo>
                    <a:pt x="145497" y="35856"/>
                    <a:pt x="141811" y="35856"/>
                    <a:pt x="136896" y="35856"/>
                  </a:cubicBezTo>
                  <a:cubicBezTo>
                    <a:pt x="134439" y="35856"/>
                    <a:pt x="130753" y="35856"/>
                    <a:pt x="128295" y="38253"/>
                  </a:cubicBezTo>
                  <a:cubicBezTo>
                    <a:pt x="125838" y="39451"/>
                    <a:pt x="123381" y="40649"/>
                    <a:pt x="122152" y="43046"/>
                  </a:cubicBezTo>
                  <a:cubicBezTo>
                    <a:pt x="120923" y="44245"/>
                    <a:pt x="120923" y="45443"/>
                    <a:pt x="119695" y="46642"/>
                  </a:cubicBezTo>
                  <a:cubicBezTo>
                    <a:pt x="119695" y="47840"/>
                    <a:pt x="118466" y="49039"/>
                    <a:pt x="118466" y="51436"/>
                  </a:cubicBezTo>
                  <a:cubicBezTo>
                    <a:pt x="118466" y="52634"/>
                    <a:pt x="118466" y="53833"/>
                    <a:pt x="118466" y="55031"/>
                  </a:cubicBezTo>
                  <a:cubicBezTo>
                    <a:pt x="118466" y="56230"/>
                    <a:pt x="118466" y="58627"/>
                    <a:pt x="118466" y="59825"/>
                  </a:cubicBezTo>
                  <a:lnTo>
                    <a:pt x="119695" y="92184"/>
                  </a:lnTo>
                  <a:lnTo>
                    <a:pt x="112322" y="92184"/>
                  </a:lnTo>
                  <a:lnTo>
                    <a:pt x="109865" y="32260"/>
                  </a:lnTo>
                  <a:lnTo>
                    <a:pt x="117237" y="32260"/>
                  </a:lnTo>
                  <a:lnTo>
                    <a:pt x="117237" y="40649"/>
                  </a:lnTo>
                  <a:cubicBezTo>
                    <a:pt x="119695" y="37054"/>
                    <a:pt x="122152" y="34657"/>
                    <a:pt x="125838" y="32260"/>
                  </a:cubicBezTo>
                  <a:cubicBezTo>
                    <a:pt x="129524" y="31062"/>
                    <a:pt x="133210" y="29863"/>
                    <a:pt x="138125" y="28665"/>
                  </a:cubicBezTo>
                  <a:cubicBezTo>
                    <a:pt x="140582" y="28665"/>
                    <a:pt x="143040" y="29863"/>
                    <a:pt x="145497" y="29863"/>
                  </a:cubicBezTo>
                  <a:cubicBezTo>
                    <a:pt x="146726" y="31062"/>
                    <a:pt x="150412" y="31062"/>
                    <a:pt x="151641" y="32260"/>
                  </a:cubicBezTo>
                  <a:cubicBezTo>
                    <a:pt x="152869" y="33459"/>
                    <a:pt x="152869" y="33459"/>
                    <a:pt x="155327" y="35856"/>
                  </a:cubicBezTo>
                  <a:cubicBezTo>
                    <a:pt x="155327" y="37054"/>
                    <a:pt x="156556" y="38253"/>
                    <a:pt x="157784" y="39451"/>
                  </a:cubicBezTo>
                  <a:cubicBezTo>
                    <a:pt x="159013" y="35856"/>
                    <a:pt x="162699" y="32260"/>
                    <a:pt x="166385" y="31062"/>
                  </a:cubicBezTo>
                  <a:cubicBezTo>
                    <a:pt x="168842" y="28665"/>
                    <a:pt x="173757" y="27466"/>
                    <a:pt x="178672" y="27466"/>
                  </a:cubicBezTo>
                  <a:close/>
                  <a:moveTo>
                    <a:pt x="299123" y="24414"/>
                  </a:moveTo>
                  <a:lnTo>
                    <a:pt x="301120" y="85448"/>
                  </a:lnTo>
                  <a:lnTo>
                    <a:pt x="295128" y="86669"/>
                  </a:lnTo>
                  <a:lnTo>
                    <a:pt x="292132" y="25635"/>
                  </a:lnTo>
                  <a:close/>
                  <a:moveTo>
                    <a:pt x="59924" y="10985"/>
                  </a:moveTo>
                  <a:lnTo>
                    <a:pt x="61122" y="18661"/>
                  </a:lnTo>
                  <a:lnTo>
                    <a:pt x="9588" y="21219"/>
                  </a:lnTo>
                  <a:lnTo>
                    <a:pt x="10786" y="53200"/>
                  </a:lnTo>
                  <a:lnTo>
                    <a:pt x="56328" y="50641"/>
                  </a:lnTo>
                  <a:lnTo>
                    <a:pt x="56328" y="58317"/>
                  </a:lnTo>
                  <a:lnTo>
                    <a:pt x="10786" y="59596"/>
                  </a:lnTo>
                  <a:lnTo>
                    <a:pt x="11985" y="95415"/>
                  </a:lnTo>
                  <a:lnTo>
                    <a:pt x="64718" y="92856"/>
                  </a:lnTo>
                  <a:lnTo>
                    <a:pt x="64718" y="100532"/>
                  </a:lnTo>
                  <a:lnTo>
                    <a:pt x="3595" y="103090"/>
                  </a:lnTo>
                  <a:lnTo>
                    <a:pt x="0" y="13544"/>
                  </a:lnTo>
                  <a:close/>
                  <a:moveTo>
                    <a:pt x="318600" y="0"/>
                  </a:moveTo>
                  <a:lnTo>
                    <a:pt x="325192" y="0"/>
                  </a:lnTo>
                  <a:lnTo>
                    <a:pt x="328487" y="86634"/>
                  </a:lnTo>
                  <a:lnTo>
                    <a:pt x="321896" y="86634"/>
                  </a:lnTo>
                  <a:close/>
                  <a:moveTo>
                    <a:pt x="298124" y="0"/>
                  </a:moveTo>
                  <a:lnTo>
                    <a:pt x="298124" y="10986"/>
                  </a:lnTo>
                  <a:lnTo>
                    <a:pt x="291133" y="12207"/>
                  </a:lnTo>
                  <a:lnTo>
                    <a:pt x="291133" y="12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1" name="Freeform 151">
              <a:extLst>
                <a:ext uri="{FF2B5EF4-FFF2-40B4-BE49-F238E27FC236}">
                  <a16:creationId xmlns:a16="http://schemas.microsoft.com/office/drawing/2014/main" id="{B9192CB8-AE68-26E3-E3BC-5AC7F6F1B7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22107" y="7279292"/>
              <a:ext cx="1591945" cy="109588"/>
            </a:xfrm>
            <a:custGeom>
              <a:avLst/>
              <a:gdLst>
                <a:gd name="T0" fmla="*/ 1132 w 1218"/>
                <a:gd name="T1" fmla="*/ 13 h 83"/>
                <a:gd name="T2" fmla="*/ 1128 w 1218"/>
                <a:gd name="T3" fmla="*/ 10 h 83"/>
                <a:gd name="T4" fmla="*/ 1212 w 1218"/>
                <a:gd name="T5" fmla="*/ 0 h 83"/>
                <a:gd name="T6" fmla="*/ 1216 w 1218"/>
                <a:gd name="T7" fmla="*/ 4 h 83"/>
                <a:gd name="T8" fmla="*/ 1213 w 1218"/>
                <a:gd name="T9" fmla="*/ 8 h 83"/>
                <a:gd name="T10" fmla="*/ 970 w 1218"/>
                <a:gd name="T11" fmla="*/ 23 h 83"/>
                <a:gd name="T12" fmla="*/ 967 w 1218"/>
                <a:gd name="T13" fmla="*/ 19 h 83"/>
                <a:gd name="T14" fmla="*/ 970 w 1218"/>
                <a:gd name="T15" fmla="*/ 15 h 83"/>
                <a:gd name="T16" fmla="*/ 1051 w 1218"/>
                <a:gd name="T17" fmla="*/ 10 h 83"/>
                <a:gd name="T18" fmla="*/ 1056 w 1218"/>
                <a:gd name="T19" fmla="*/ 14 h 83"/>
                <a:gd name="T20" fmla="*/ 971 w 1218"/>
                <a:gd name="T21" fmla="*/ 23 h 83"/>
                <a:gd name="T22" fmla="*/ 970 w 1218"/>
                <a:gd name="T23" fmla="*/ 23 h 83"/>
                <a:gd name="T24" fmla="*/ 810 w 1218"/>
                <a:gd name="T25" fmla="*/ 33 h 83"/>
                <a:gd name="T26" fmla="*/ 805 w 1218"/>
                <a:gd name="T27" fmla="*/ 29 h 83"/>
                <a:gd name="T28" fmla="*/ 890 w 1218"/>
                <a:gd name="T29" fmla="*/ 20 h 83"/>
                <a:gd name="T30" fmla="*/ 894 w 1218"/>
                <a:gd name="T31" fmla="*/ 24 h 83"/>
                <a:gd name="T32" fmla="*/ 890 w 1218"/>
                <a:gd name="T33" fmla="*/ 28 h 83"/>
                <a:gd name="T34" fmla="*/ 648 w 1218"/>
                <a:gd name="T35" fmla="*/ 43 h 83"/>
                <a:gd name="T36" fmla="*/ 644 w 1218"/>
                <a:gd name="T37" fmla="*/ 39 h 83"/>
                <a:gd name="T38" fmla="*/ 648 w 1218"/>
                <a:gd name="T39" fmla="*/ 35 h 83"/>
                <a:gd name="T40" fmla="*/ 728 w 1218"/>
                <a:gd name="T41" fmla="*/ 30 h 83"/>
                <a:gd name="T42" fmla="*/ 733 w 1218"/>
                <a:gd name="T43" fmla="*/ 34 h 83"/>
                <a:gd name="T44" fmla="*/ 648 w 1218"/>
                <a:gd name="T45" fmla="*/ 43 h 83"/>
                <a:gd name="T46" fmla="*/ 487 w 1218"/>
                <a:gd name="T47" fmla="*/ 53 h 83"/>
                <a:gd name="T48" fmla="*/ 483 w 1218"/>
                <a:gd name="T49" fmla="*/ 49 h 83"/>
                <a:gd name="T50" fmla="*/ 567 w 1218"/>
                <a:gd name="T51" fmla="*/ 40 h 83"/>
                <a:gd name="T52" fmla="*/ 572 w 1218"/>
                <a:gd name="T53" fmla="*/ 43 h 83"/>
                <a:gd name="T54" fmla="*/ 567 w 1218"/>
                <a:gd name="T55" fmla="*/ 48 h 83"/>
                <a:gd name="T56" fmla="*/ 326 w 1218"/>
                <a:gd name="T57" fmla="*/ 63 h 83"/>
                <a:gd name="T58" fmla="*/ 323 w 1218"/>
                <a:gd name="T59" fmla="*/ 59 h 83"/>
                <a:gd name="T60" fmla="*/ 326 w 1218"/>
                <a:gd name="T61" fmla="*/ 54 h 83"/>
                <a:gd name="T62" fmla="*/ 406 w 1218"/>
                <a:gd name="T63" fmla="*/ 49 h 83"/>
                <a:gd name="T64" fmla="*/ 410 w 1218"/>
                <a:gd name="T65" fmla="*/ 53 h 83"/>
                <a:gd name="T66" fmla="*/ 327 w 1218"/>
                <a:gd name="T67" fmla="*/ 62 h 83"/>
                <a:gd name="T68" fmla="*/ 326 w 1218"/>
                <a:gd name="T69" fmla="*/ 63 h 83"/>
                <a:gd name="T70" fmla="*/ 166 w 1218"/>
                <a:gd name="T71" fmla="*/ 73 h 83"/>
                <a:gd name="T72" fmla="*/ 161 w 1218"/>
                <a:gd name="T73" fmla="*/ 69 h 83"/>
                <a:gd name="T74" fmla="*/ 246 w 1218"/>
                <a:gd name="T75" fmla="*/ 59 h 83"/>
                <a:gd name="T76" fmla="*/ 250 w 1218"/>
                <a:gd name="T77" fmla="*/ 64 h 83"/>
                <a:gd name="T78" fmla="*/ 246 w 1218"/>
                <a:gd name="T79" fmla="*/ 68 h 83"/>
                <a:gd name="T80" fmla="*/ 4 w 1218"/>
                <a:gd name="T81" fmla="*/ 82 h 83"/>
                <a:gd name="T82" fmla="*/ 0 w 1218"/>
                <a:gd name="T83" fmla="*/ 79 h 83"/>
                <a:gd name="T84" fmla="*/ 4 w 1218"/>
                <a:gd name="T85" fmla="*/ 75 h 83"/>
                <a:gd name="T86" fmla="*/ 85 w 1218"/>
                <a:gd name="T87" fmla="*/ 70 h 83"/>
                <a:gd name="T88" fmla="*/ 89 w 1218"/>
                <a:gd name="T89" fmla="*/ 73 h 83"/>
                <a:gd name="T90" fmla="*/ 5 w 1218"/>
                <a:gd name="T91" fmla="*/ 82 h 83"/>
                <a:gd name="T92" fmla="*/ 4 w 1218"/>
                <a:gd name="T93" fmla="*/ 8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18" h="83">
                  <a:moveTo>
                    <a:pt x="1132" y="13"/>
                  </a:moveTo>
                  <a:lnTo>
                    <a:pt x="1132" y="13"/>
                  </a:lnTo>
                  <a:cubicBezTo>
                    <a:pt x="1130" y="13"/>
                    <a:pt x="1128" y="12"/>
                    <a:pt x="1128" y="10"/>
                  </a:cubicBezTo>
                  <a:lnTo>
                    <a:pt x="1128" y="10"/>
                  </a:lnTo>
                  <a:cubicBezTo>
                    <a:pt x="1128" y="7"/>
                    <a:pt x="1130" y="6"/>
                    <a:pt x="1132" y="6"/>
                  </a:cubicBezTo>
                  <a:lnTo>
                    <a:pt x="1212" y="0"/>
                  </a:lnTo>
                  <a:lnTo>
                    <a:pt x="1212" y="0"/>
                  </a:lnTo>
                  <a:cubicBezTo>
                    <a:pt x="1215" y="0"/>
                    <a:pt x="1216" y="2"/>
                    <a:pt x="1216" y="4"/>
                  </a:cubicBezTo>
                  <a:lnTo>
                    <a:pt x="1216" y="4"/>
                  </a:lnTo>
                  <a:cubicBezTo>
                    <a:pt x="1217" y="6"/>
                    <a:pt x="1215" y="8"/>
                    <a:pt x="1213" y="8"/>
                  </a:cubicBezTo>
                  <a:lnTo>
                    <a:pt x="1132" y="13"/>
                  </a:lnTo>
                  <a:close/>
                  <a:moveTo>
                    <a:pt x="970" y="23"/>
                  </a:moveTo>
                  <a:lnTo>
                    <a:pt x="970" y="23"/>
                  </a:lnTo>
                  <a:cubicBezTo>
                    <a:pt x="969" y="23"/>
                    <a:pt x="967" y="21"/>
                    <a:pt x="967" y="19"/>
                  </a:cubicBezTo>
                  <a:lnTo>
                    <a:pt x="967" y="19"/>
                  </a:lnTo>
                  <a:cubicBezTo>
                    <a:pt x="966" y="17"/>
                    <a:pt x="968" y="15"/>
                    <a:pt x="970" y="15"/>
                  </a:cubicBezTo>
                  <a:lnTo>
                    <a:pt x="1051" y="10"/>
                  </a:lnTo>
                  <a:lnTo>
                    <a:pt x="1051" y="10"/>
                  </a:lnTo>
                  <a:cubicBezTo>
                    <a:pt x="1053" y="10"/>
                    <a:pt x="1055" y="12"/>
                    <a:pt x="1056" y="14"/>
                  </a:cubicBezTo>
                  <a:lnTo>
                    <a:pt x="1056" y="14"/>
                  </a:lnTo>
                  <a:cubicBezTo>
                    <a:pt x="1056" y="16"/>
                    <a:pt x="1054" y="18"/>
                    <a:pt x="1051" y="18"/>
                  </a:cubicBezTo>
                  <a:lnTo>
                    <a:pt x="971" y="23"/>
                  </a:lnTo>
                  <a:lnTo>
                    <a:pt x="971" y="23"/>
                  </a:lnTo>
                  <a:lnTo>
                    <a:pt x="970" y="23"/>
                  </a:lnTo>
                  <a:close/>
                  <a:moveTo>
                    <a:pt x="810" y="33"/>
                  </a:moveTo>
                  <a:lnTo>
                    <a:pt x="810" y="33"/>
                  </a:lnTo>
                  <a:cubicBezTo>
                    <a:pt x="807" y="33"/>
                    <a:pt x="805" y="31"/>
                    <a:pt x="805" y="29"/>
                  </a:cubicBezTo>
                  <a:lnTo>
                    <a:pt x="805" y="29"/>
                  </a:lnTo>
                  <a:cubicBezTo>
                    <a:pt x="805" y="27"/>
                    <a:pt x="807" y="25"/>
                    <a:pt x="809" y="25"/>
                  </a:cubicBezTo>
                  <a:lnTo>
                    <a:pt x="890" y="20"/>
                  </a:lnTo>
                  <a:lnTo>
                    <a:pt x="890" y="20"/>
                  </a:lnTo>
                  <a:cubicBezTo>
                    <a:pt x="892" y="20"/>
                    <a:pt x="894" y="21"/>
                    <a:pt x="894" y="24"/>
                  </a:cubicBezTo>
                  <a:lnTo>
                    <a:pt x="894" y="24"/>
                  </a:lnTo>
                  <a:cubicBezTo>
                    <a:pt x="894" y="26"/>
                    <a:pt x="892" y="28"/>
                    <a:pt x="890" y="28"/>
                  </a:cubicBezTo>
                  <a:lnTo>
                    <a:pt x="810" y="33"/>
                  </a:lnTo>
                  <a:close/>
                  <a:moveTo>
                    <a:pt x="648" y="43"/>
                  </a:moveTo>
                  <a:lnTo>
                    <a:pt x="648" y="43"/>
                  </a:lnTo>
                  <a:cubicBezTo>
                    <a:pt x="646" y="43"/>
                    <a:pt x="644" y="41"/>
                    <a:pt x="644" y="39"/>
                  </a:cubicBezTo>
                  <a:lnTo>
                    <a:pt x="644" y="39"/>
                  </a:lnTo>
                  <a:cubicBezTo>
                    <a:pt x="644" y="37"/>
                    <a:pt x="646" y="35"/>
                    <a:pt x="648" y="35"/>
                  </a:cubicBezTo>
                  <a:lnTo>
                    <a:pt x="728" y="30"/>
                  </a:lnTo>
                  <a:lnTo>
                    <a:pt x="728" y="30"/>
                  </a:lnTo>
                  <a:cubicBezTo>
                    <a:pt x="731" y="30"/>
                    <a:pt x="733" y="31"/>
                    <a:pt x="733" y="34"/>
                  </a:cubicBezTo>
                  <a:lnTo>
                    <a:pt x="733" y="34"/>
                  </a:lnTo>
                  <a:cubicBezTo>
                    <a:pt x="733" y="36"/>
                    <a:pt x="732" y="38"/>
                    <a:pt x="729" y="38"/>
                  </a:cubicBezTo>
                  <a:lnTo>
                    <a:pt x="648" y="43"/>
                  </a:lnTo>
                  <a:close/>
                  <a:moveTo>
                    <a:pt x="487" y="53"/>
                  </a:moveTo>
                  <a:lnTo>
                    <a:pt x="487" y="53"/>
                  </a:lnTo>
                  <a:cubicBezTo>
                    <a:pt x="485" y="53"/>
                    <a:pt x="483" y="51"/>
                    <a:pt x="483" y="49"/>
                  </a:cubicBezTo>
                  <a:lnTo>
                    <a:pt x="483" y="49"/>
                  </a:lnTo>
                  <a:cubicBezTo>
                    <a:pt x="482" y="47"/>
                    <a:pt x="484" y="45"/>
                    <a:pt x="487" y="45"/>
                  </a:cubicBezTo>
                  <a:lnTo>
                    <a:pt x="567" y="40"/>
                  </a:lnTo>
                  <a:lnTo>
                    <a:pt x="567" y="40"/>
                  </a:lnTo>
                  <a:cubicBezTo>
                    <a:pt x="569" y="40"/>
                    <a:pt x="571" y="42"/>
                    <a:pt x="572" y="43"/>
                  </a:cubicBezTo>
                  <a:lnTo>
                    <a:pt x="572" y="43"/>
                  </a:lnTo>
                  <a:cubicBezTo>
                    <a:pt x="572" y="46"/>
                    <a:pt x="570" y="48"/>
                    <a:pt x="567" y="48"/>
                  </a:cubicBezTo>
                  <a:lnTo>
                    <a:pt x="487" y="53"/>
                  </a:lnTo>
                  <a:close/>
                  <a:moveTo>
                    <a:pt x="326" y="63"/>
                  </a:moveTo>
                  <a:lnTo>
                    <a:pt x="326" y="63"/>
                  </a:lnTo>
                  <a:cubicBezTo>
                    <a:pt x="325" y="63"/>
                    <a:pt x="323" y="61"/>
                    <a:pt x="323" y="59"/>
                  </a:cubicBezTo>
                  <a:lnTo>
                    <a:pt x="323" y="59"/>
                  </a:lnTo>
                  <a:cubicBezTo>
                    <a:pt x="323" y="57"/>
                    <a:pt x="324" y="55"/>
                    <a:pt x="326" y="54"/>
                  </a:cubicBezTo>
                  <a:lnTo>
                    <a:pt x="406" y="49"/>
                  </a:lnTo>
                  <a:lnTo>
                    <a:pt x="406" y="49"/>
                  </a:lnTo>
                  <a:cubicBezTo>
                    <a:pt x="408" y="49"/>
                    <a:pt x="410" y="51"/>
                    <a:pt x="410" y="53"/>
                  </a:cubicBezTo>
                  <a:lnTo>
                    <a:pt x="410" y="53"/>
                  </a:lnTo>
                  <a:cubicBezTo>
                    <a:pt x="410" y="56"/>
                    <a:pt x="408" y="58"/>
                    <a:pt x="407" y="58"/>
                  </a:cubicBezTo>
                  <a:lnTo>
                    <a:pt x="327" y="62"/>
                  </a:lnTo>
                  <a:lnTo>
                    <a:pt x="327" y="62"/>
                  </a:lnTo>
                  <a:cubicBezTo>
                    <a:pt x="327" y="63"/>
                    <a:pt x="327" y="63"/>
                    <a:pt x="326" y="63"/>
                  </a:cubicBezTo>
                  <a:close/>
                  <a:moveTo>
                    <a:pt x="166" y="73"/>
                  </a:moveTo>
                  <a:lnTo>
                    <a:pt x="166" y="73"/>
                  </a:lnTo>
                  <a:cubicBezTo>
                    <a:pt x="163" y="73"/>
                    <a:pt x="161" y="71"/>
                    <a:pt x="161" y="69"/>
                  </a:cubicBezTo>
                  <a:lnTo>
                    <a:pt x="161" y="69"/>
                  </a:lnTo>
                  <a:cubicBezTo>
                    <a:pt x="161" y="66"/>
                    <a:pt x="163" y="65"/>
                    <a:pt x="165" y="64"/>
                  </a:cubicBezTo>
                  <a:lnTo>
                    <a:pt x="246" y="59"/>
                  </a:lnTo>
                  <a:lnTo>
                    <a:pt x="246" y="59"/>
                  </a:lnTo>
                  <a:cubicBezTo>
                    <a:pt x="248" y="59"/>
                    <a:pt x="250" y="61"/>
                    <a:pt x="250" y="64"/>
                  </a:cubicBezTo>
                  <a:lnTo>
                    <a:pt x="250" y="64"/>
                  </a:lnTo>
                  <a:cubicBezTo>
                    <a:pt x="250" y="65"/>
                    <a:pt x="249" y="67"/>
                    <a:pt x="246" y="68"/>
                  </a:cubicBezTo>
                  <a:lnTo>
                    <a:pt x="166" y="73"/>
                  </a:lnTo>
                  <a:close/>
                  <a:moveTo>
                    <a:pt x="4" y="82"/>
                  </a:moveTo>
                  <a:lnTo>
                    <a:pt x="4" y="82"/>
                  </a:lnTo>
                  <a:cubicBezTo>
                    <a:pt x="2" y="82"/>
                    <a:pt x="0" y="81"/>
                    <a:pt x="0" y="79"/>
                  </a:cubicBezTo>
                  <a:lnTo>
                    <a:pt x="0" y="79"/>
                  </a:lnTo>
                  <a:cubicBezTo>
                    <a:pt x="0" y="76"/>
                    <a:pt x="2" y="75"/>
                    <a:pt x="4" y="75"/>
                  </a:cubicBezTo>
                  <a:lnTo>
                    <a:pt x="85" y="70"/>
                  </a:lnTo>
                  <a:lnTo>
                    <a:pt x="85" y="70"/>
                  </a:lnTo>
                  <a:cubicBezTo>
                    <a:pt x="87" y="69"/>
                    <a:pt x="88" y="71"/>
                    <a:pt x="89" y="73"/>
                  </a:cubicBezTo>
                  <a:lnTo>
                    <a:pt x="89" y="73"/>
                  </a:lnTo>
                  <a:cubicBezTo>
                    <a:pt x="89" y="75"/>
                    <a:pt x="87" y="77"/>
                    <a:pt x="85" y="77"/>
                  </a:cubicBezTo>
                  <a:lnTo>
                    <a:pt x="5" y="82"/>
                  </a:lnTo>
                  <a:lnTo>
                    <a:pt x="5" y="82"/>
                  </a:lnTo>
                  <a:cubicBezTo>
                    <a:pt x="4" y="82"/>
                    <a:pt x="4" y="82"/>
                    <a:pt x="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2" name="Freeform 152">
              <a:extLst>
                <a:ext uri="{FF2B5EF4-FFF2-40B4-BE49-F238E27FC236}">
                  <a16:creationId xmlns:a16="http://schemas.microsoft.com/office/drawing/2014/main" id="{938D612B-F513-F036-0126-F8F0AC9438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83681" y="7758027"/>
              <a:ext cx="1943786" cy="444132"/>
            </a:xfrm>
            <a:custGeom>
              <a:avLst/>
              <a:gdLst>
                <a:gd name="T0" fmla="*/ 0 w 1486"/>
                <a:gd name="T1" fmla="*/ 63 h 338"/>
                <a:gd name="T2" fmla="*/ 0 w 1486"/>
                <a:gd name="T3" fmla="*/ 337 h 338"/>
                <a:gd name="T4" fmla="*/ 1485 w 1486"/>
                <a:gd name="T5" fmla="*/ 274 h 338"/>
                <a:gd name="T6" fmla="*/ 1485 w 1486"/>
                <a:gd name="T7" fmla="*/ 0 h 338"/>
                <a:gd name="T8" fmla="*/ 0 w 1486"/>
                <a:gd name="T9" fmla="*/ 63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6" h="338">
                  <a:moveTo>
                    <a:pt x="0" y="63"/>
                  </a:moveTo>
                  <a:lnTo>
                    <a:pt x="0" y="337"/>
                  </a:lnTo>
                  <a:lnTo>
                    <a:pt x="1485" y="274"/>
                  </a:lnTo>
                  <a:lnTo>
                    <a:pt x="1485" y="0"/>
                  </a:lnTo>
                  <a:lnTo>
                    <a:pt x="0" y="63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3" name="Freeform 73">
              <a:extLst>
                <a:ext uri="{FF2B5EF4-FFF2-40B4-BE49-F238E27FC236}">
                  <a16:creationId xmlns:a16="http://schemas.microsoft.com/office/drawing/2014/main" id="{1044507D-3DA0-7C5A-027E-673A7D751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83677" y="7694585"/>
              <a:ext cx="581226" cy="119840"/>
            </a:xfrm>
            <a:custGeom>
              <a:avLst/>
              <a:gdLst>
                <a:gd name="connsiteX0" fmla="*/ 124164 w 553528"/>
                <a:gd name="connsiteY0" fmla="*/ 73903 h 114129"/>
                <a:gd name="connsiteX1" fmla="*/ 114214 w 553528"/>
                <a:gd name="connsiteY1" fmla="*/ 77498 h 114129"/>
                <a:gd name="connsiteX2" fmla="*/ 104264 w 553528"/>
                <a:gd name="connsiteY2" fmla="*/ 77498 h 114129"/>
                <a:gd name="connsiteX3" fmla="*/ 90584 w 553528"/>
                <a:gd name="connsiteY3" fmla="*/ 82292 h 114129"/>
                <a:gd name="connsiteX4" fmla="*/ 85609 w 553528"/>
                <a:gd name="connsiteY4" fmla="*/ 91880 h 114129"/>
                <a:gd name="connsiteX5" fmla="*/ 88096 w 553528"/>
                <a:gd name="connsiteY5" fmla="*/ 96674 h 114129"/>
                <a:gd name="connsiteX6" fmla="*/ 90584 w 553528"/>
                <a:gd name="connsiteY6" fmla="*/ 100269 h 114129"/>
                <a:gd name="connsiteX7" fmla="*/ 95558 w 553528"/>
                <a:gd name="connsiteY7" fmla="*/ 101468 h 114129"/>
                <a:gd name="connsiteX8" fmla="*/ 100533 w 553528"/>
                <a:gd name="connsiteY8" fmla="*/ 102666 h 114129"/>
                <a:gd name="connsiteX9" fmla="*/ 109239 w 553528"/>
                <a:gd name="connsiteY9" fmla="*/ 100269 h 114129"/>
                <a:gd name="connsiteX10" fmla="*/ 116701 w 553528"/>
                <a:gd name="connsiteY10" fmla="*/ 96674 h 114129"/>
                <a:gd name="connsiteX11" fmla="*/ 122920 w 553528"/>
                <a:gd name="connsiteY11" fmla="*/ 90682 h 114129"/>
                <a:gd name="connsiteX12" fmla="*/ 124164 w 553528"/>
                <a:gd name="connsiteY12" fmla="*/ 83491 h 114129"/>
                <a:gd name="connsiteX13" fmla="*/ 105508 w 553528"/>
                <a:gd name="connsiteY13" fmla="*/ 45140 h 114129"/>
                <a:gd name="connsiteX14" fmla="*/ 115458 w 553528"/>
                <a:gd name="connsiteY14" fmla="*/ 45140 h 114129"/>
                <a:gd name="connsiteX15" fmla="*/ 122920 w 553528"/>
                <a:gd name="connsiteY15" fmla="*/ 47537 h 114129"/>
                <a:gd name="connsiteX16" fmla="*/ 127895 w 553528"/>
                <a:gd name="connsiteY16" fmla="*/ 53529 h 114129"/>
                <a:gd name="connsiteX17" fmla="*/ 130382 w 553528"/>
                <a:gd name="connsiteY17" fmla="*/ 61918 h 114129"/>
                <a:gd name="connsiteX18" fmla="*/ 132869 w 553528"/>
                <a:gd name="connsiteY18" fmla="*/ 94277 h 114129"/>
                <a:gd name="connsiteX19" fmla="*/ 134113 w 553528"/>
                <a:gd name="connsiteY19" fmla="*/ 100269 h 114129"/>
                <a:gd name="connsiteX20" fmla="*/ 140332 w 553528"/>
                <a:gd name="connsiteY20" fmla="*/ 99071 h 114129"/>
                <a:gd name="connsiteX21" fmla="*/ 141575 w 553528"/>
                <a:gd name="connsiteY21" fmla="*/ 103865 h 114129"/>
                <a:gd name="connsiteX22" fmla="*/ 139088 w 553528"/>
                <a:gd name="connsiteY22" fmla="*/ 106262 h 114129"/>
                <a:gd name="connsiteX23" fmla="*/ 135357 w 553528"/>
                <a:gd name="connsiteY23" fmla="*/ 106262 h 114129"/>
                <a:gd name="connsiteX24" fmla="*/ 131626 w 553528"/>
                <a:gd name="connsiteY24" fmla="*/ 106262 h 114129"/>
                <a:gd name="connsiteX25" fmla="*/ 127895 w 553528"/>
                <a:gd name="connsiteY25" fmla="*/ 105063 h 114129"/>
                <a:gd name="connsiteX26" fmla="*/ 126651 w 553528"/>
                <a:gd name="connsiteY26" fmla="*/ 102666 h 114129"/>
                <a:gd name="connsiteX27" fmla="*/ 125407 w 553528"/>
                <a:gd name="connsiteY27" fmla="*/ 100269 h 114129"/>
                <a:gd name="connsiteX28" fmla="*/ 125407 w 553528"/>
                <a:gd name="connsiteY28" fmla="*/ 96674 h 114129"/>
                <a:gd name="connsiteX29" fmla="*/ 114214 w 553528"/>
                <a:gd name="connsiteY29" fmla="*/ 105063 h 114129"/>
                <a:gd name="connsiteX30" fmla="*/ 100533 w 553528"/>
                <a:gd name="connsiteY30" fmla="*/ 108659 h 114129"/>
                <a:gd name="connsiteX31" fmla="*/ 91827 w 553528"/>
                <a:gd name="connsiteY31" fmla="*/ 108659 h 114129"/>
                <a:gd name="connsiteX32" fmla="*/ 85609 w 553528"/>
                <a:gd name="connsiteY32" fmla="*/ 105063 h 114129"/>
                <a:gd name="connsiteX33" fmla="*/ 79390 w 553528"/>
                <a:gd name="connsiteY33" fmla="*/ 100269 h 114129"/>
                <a:gd name="connsiteX34" fmla="*/ 76903 w 553528"/>
                <a:gd name="connsiteY34" fmla="*/ 91880 h 114129"/>
                <a:gd name="connsiteX35" fmla="*/ 99290 w 553528"/>
                <a:gd name="connsiteY35" fmla="*/ 72705 h 114129"/>
                <a:gd name="connsiteX36" fmla="*/ 110483 w 553528"/>
                <a:gd name="connsiteY36" fmla="*/ 71506 h 114129"/>
                <a:gd name="connsiteX37" fmla="*/ 115458 w 553528"/>
                <a:gd name="connsiteY37" fmla="*/ 70308 h 114129"/>
                <a:gd name="connsiteX38" fmla="*/ 120432 w 553528"/>
                <a:gd name="connsiteY38" fmla="*/ 67911 h 114129"/>
                <a:gd name="connsiteX39" fmla="*/ 122920 w 553528"/>
                <a:gd name="connsiteY39" fmla="*/ 66712 h 114129"/>
                <a:gd name="connsiteX40" fmla="*/ 122920 w 553528"/>
                <a:gd name="connsiteY40" fmla="*/ 61918 h 114129"/>
                <a:gd name="connsiteX41" fmla="*/ 119189 w 553528"/>
                <a:gd name="connsiteY41" fmla="*/ 53529 h 114129"/>
                <a:gd name="connsiteX42" fmla="*/ 105508 w 553528"/>
                <a:gd name="connsiteY42" fmla="*/ 51132 h 114129"/>
                <a:gd name="connsiteX43" fmla="*/ 99290 w 553528"/>
                <a:gd name="connsiteY43" fmla="*/ 51132 h 114129"/>
                <a:gd name="connsiteX44" fmla="*/ 93071 w 553528"/>
                <a:gd name="connsiteY44" fmla="*/ 54728 h 114129"/>
                <a:gd name="connsiteX45" fmla="*/ 89340 w 553528"/>
                <a:gd name="connsiteY45" fmla="*/ 59521 h 114129"/>
                <a:gd name="connsiteX46" fmla="*/ 88096 w 553528"/>
                <a:gd name="connsiteY46" fmla="*/ 65514 h 114129"/>
                <a:gd name="connsiteX47" fmla="*/ 79390 w 553528"/>
                <a:gd name="connsiteY47" fmla="*/ 65514 h 114129"/>
                <a:gd name="connsiteX48" fmla="*/ 81878 w 553528"/>
                <a:gd name="connsiteY48" fmla="*/ 57124 h 114129"/>
                <a:gd name="connsiteX49" fmla="*/ 88096 w 553528"/>
                <a:gd name="connsiteY49" fmla="*/ 49934 h 114129"/>
                <a:gd name="connsiteX50" fmla="*/ 95558 w 553528"/>
                <a:gd name="connsiteY50" fmla="*/ 46338 h 114129"/>
                <a:gd name="connsiteX51" fmla="*/ 105508 w 553528"/>
                <a:gd name="connsiteY51" fmla="*/ 45140 h 114129"/>
                <a:gd name="connsiteX52" fmla="*/ 171308 w 553528"/>
                <a:gd name="connsiteY52" fmla="*/ 43941 h 114129"/>
                <a:gd name="connsiteX53" fmla="*/ 190470 w 553528"/>
                <a:gd name="connsiteY53" fmla="*/ 47603 h 114129"/>
                <a:gd name="connsiteX54" fmla="*/ 199413 w 553528"/>
                <a:gd name="connsiteY54" fmla="*/ 62251 h 114129"/>
                <a:gd name="connsiteX55" fmla="*/ 191748 w 553528"/>
                <a:gd name="connsiteY55" fmla="*/ 62251 h 114129"/>
                <a:gd name="connsiteX56" fmla="*/ 184083 w 553528"/>
                <a:gd name="connsiteY56" fmla="*/ 52486 h 114129"/>
                <a:gd name="connsiteX57" fmla="*/ 171308 w 553528"/>
                <a:gd name="connsiteY57" fmla="*/ 50045 h 114129"/>
                <a:gd name="connsiteX58" fmla="*/ 161089 w 553528"/>
                <a:gd name="connsiteY58" fmla="*/ 53707 h 114129"/>
                <a:gd name="connsiteX59" fmla="*/ 157256 w 553528"/>
                <a:gd name="connsiteY59" fmla="*/ 62251 h 114129"/>
                <a:gd name="connsiteX60" fmla="*/ 161089 w 553528"/>
                <a:gd name="connsiteY60" fmla="*/ 67134 h 114129"/>
                <a:gd name="connsiteX61" fmla="*/ 168753 w 553528"/>
                <a:gd name="connsiteY61" fmla="*/ 70796 h 114129"/>
                <a:gd name="connsiteX62" fmla="*/ 178973 w 553528"/>
                <a:gd name="connsiteY62" fmla="*/ 73237 h 114129"/>
                <a:gd name="connsiteX63" fmla="*/ 190470 w 553528"/>
                <a:gd name="connsiteY63" fmla="*/ 75679 h 114129"/>
                <a:gd name="connsiteX64" fmla="*/ 199413 w 553528"/>
                <a:gd name="connsiteY64" fmla="*/ 80561 h 114129"/>
                <a:gd name="connsiteX65" fmla="*/ 201968 w 553528"/>
                <a:gd name="connsiteY65" fmla="*/ 89106 h 114129"/>
                <a:gd name="connsiteX66" fmla="*/ 200690 w 553528"/>
                <a:gd name="connsiteY66" fmla="*/ 97651 h 114129"/>
                <a:gd name="connsiteX67" fmla="*/ 195580 w 553528"/>
                <a:gd name="connsiteY67" fmla="*/ 103754 h 114129"/>
                <a:gd name="connsiteX68" fmla="*/ 186638 w 553528"/>
                <a:gd name="connsiteY68" fmla="*/ 107416 h 114129"/>
                <a:gd name="connsiteX69" fmla="*/ 175141 w 553528"/>
                <a:gd name="connsiteY69" fmla="*/ 108637 h 114129"/>
                <a:gd name="connsiteX70" fmla="*/ 164921 w 553528"/>
                <a:gd name="connsiteY70" fmla="*/ 107416 h 114129"/>
                <a:gd name="connsiteX71" fmla="*/ 155979 w 553528"/>
                <a:gd name="connsiteY71" fmla="*/ 103754 h 114129"/>
                <a:gd name="connsiteX72" fmla="*/ 150869 w 553528"/>
                <a:gd name="connsiteY72" fmla="*/ 96430 h 114129"/>
                <a:gd name="connsiteX73" fmla="*/ 148314 w 553528"/>
                <a:gd name="connsiteY73" fmla="*/ 89106 h 114129"/>
                <a:gd name="connsiteX74" fmla="*/ 155979 w 553528"/>
                <a:gd name="connsiteY74" fmla="*/ 89106 h 114129"/>
                <a:gd name="connsiteX75" fmla="*/ 163644 w 553528"/>
                <a:gd name="connsiteY75" fmla="*/ 100092 h 114129"/>
                <a:gd name="connsiteX76" fmla="*/ 177696 w 553528"/>
                <a:gd name="connsiteY76" fmla="*/ 101313 h 114129"/>
                <a:gd name="connsiteX77" fmla="*/ 185360 w 553528"/>
                <a:gd name="connsiteY77" fmla="*/ 100092 h 114129"/>
                <a:gd name="connsiteX78" fmla="*/ 190470 w 553528"/>
                <a:gd name="connsiteY78" fmla="*/ 97651 h 114129"/>
                <a:gd name="connsiteX79" fmla="*/ 193025 w 553528"/>
                <a:gd name="connsiteY79" fmla="*/ 93989 h 114129"/>
                <a:gd name="connsiteX80" fmla="*/ 193025 w 553528"/>
                <a:gd name="connsiteY80" fmla="*/ 90327 h 114129"/>
                <a:gd name="connsiteX81" fmla="*/ 190470 w 553528"/>
                <a:gd name="connsiteY81" fmla="*/ 83003 h 114129"/>
                <a:gd name="connsiteX82" fmla="*/ 181528 w 553528"/>
                <a:gd name="connsiteY82" fmla="*/ 80561 h 114129"/>
                <a:gd name="connsiteX83" fmla="*/ 171308 w 553528"/>
                <a:gd name="connsiteY83" fmla="*/ 78120 h 114129"/>
                <a:gd name="connsiteX84" fmla="*/ 161089 w 553528"/>
                <a:gd name="connsiteY84" fmla="*/ 76899 h 114129"/>
                <a:gd name="connsiteX85" fmla="*/ 152146 w 553528"/>
                <a:gd name="connsiteY85" fmla="*/ 72017 h 114129"/>
                <a:gd name="connsiteX86" fmla="*/ 148314 w 553528"/>
                <a:gd name="connsiteY86" fmla="*/ 62251 h 114129"/>
                <a:gd name="connsiteX87" fmla="*/ 154701 w 553528"/>
                <a:gd name="connsiteY87" fmla="*/ 50045 h 114129"/>
                <a:gd name="connsiteX88" fmla="*/ 171308 w 553528"/>
                <a:gd name="connsiteY88" fmla="*/ 43941 h 114129"/>
                <a:gd name="connsiteX89" fmla="*/ 399052 w 553528"/>
                <a:gd name="connsiteY89" fmla="*/ 40279 h 114129"/>
                <a:gd name="connsiteX90" fmla="*/ 388713 w 553528"/>
                <a:gd name="connsiteY90" fmla="*/ 42721 h 114129"/>
                <a:gd name="connsiteX91" fmla="*/ 380958 w 553528"/>
                <a:gd name="connsiteY91" fmla="*/ 48824 h 114129"/>
                <a:gd name="connsiteX92" fmla="*/ 378373 w 553528"/>
                <a:gd name="connsiteY92" fmla="*/ 57369 h 114129"/>
                <a:gd name="connsiteX93" fmla="*/ 375788 w 553528"/>
                <a:gd name="connsiteY93" fmla="*/ 67134 h 114129"/>
                <a:gd name="connsiteX94" fmla="*/ 378373 w 553528"/>
                <a:gd name="connsiteY94" fmla="*/ 76899 h 114129"/>
                <a:gd name="connsiteX95" fmla="*/ 383543 w 553528"/>
                <a:gd name="connsiteY95" fmla="*/ 85444 h 114129"/>
                <a:gd name="connsiteX96" fmla="*/ 391297 w 553528"/>
                <a:gd name="connsiteY96" fmla="*/ 90327 h 114129"/>
                <a:gd name="connsiteX97" fmla="*/ 401637 w 553528"/>
                <a:gd name="connsiteY97" fmla="*/ 91547 h 114129"/>
                <a:gd name="connsiteX98" fmla="*/ 411977 w 553528"/>
                <a:gd name="connsiteY98" fmla="*/ 89106 h 114129"/>
                <a:gd name="connsiteX99" fmla="*/ 419732 w 553528"/>
                <a:gd name="connsiteY99" fmla="*/ 83003 h 114129"/>
                <a:gd name="connsiteX100" fmla="*/ 423609 w 553528"/>
                <a:gd name="connsiteY100" fmla="*/ 74458 h 114129"/>
                <a:gd name="connsiteX101" fmla="*/ 423609 w 553528"/>
                <a:gd name="connsiteY101" fmla="*/ 64693 h 114129"/>
                <a:gd name="connsiteX102" fmla="*/ 422317 w 553528"/>
                <a:gd name="connsiteY102" fmla="*/ 54927 h 114129"/>
                <a:gd name="connsiteX103" fmla="*/ 417147 w 553528"/>
                <a:gd name="connsiteY103" fmla="*/ 46383 h 114129"/>
                <a:gd name="connsiteX104" fmla="*/ 409392 w 553528"/>
                <a:gd name="connsiteY104" fmla="*/ 41500 h 114129"/>
                <a:gd name="connsiteX105" fmla="*/ 399052 w 553528"/>
                <a:gd name="connsiteY105" fmla="*/ 40279 h 114129"/>
                <a:gd name="connsiteX106" fmla="*/ 237225 w 553528"/>
                <a:gd name="connsiteY106" fmla="*/ 38446 h 114129"/>
                <a:gd name="connsiteX107" fmla="*/ 255110 w 553528"/>
                <a:gd name="connsiteY107" fmla="*/ 42042 h 114129"/>
                <a:gd name="connsiteX108" fmla="*/ 265330 w 553528"/>
                <a:gd name="connsiteY108" fmla="*/ 57622 h 114129"/>
                <a:gd name="connsiteX109" fmla="*/ 257665 w 553528"/>
                <a:gd name="connsiteY109" fmla="*/ 57622 h 114129"/>
                <a:gd name="connsiteX110" fmla="*/ 250000 w 553528"/>
                <a:gd name="connsiteY110" fmla="*/ 48034 h 114129"/>
                <a:gd name="connsiteX111" fmla="*/ 237225 w 553528"/>
                <a:gd name="connsiteY111" fmla="*/ 45637 h 114129"/>
                <a:gd name="connsiteX112" fmla="*/ 225728 w 553528"/>
                <a:gd name="connsiteY112" fmla="*/ 49233 h 114129"/>
                <a:gd name="connsiteX113" fmla="*/ 223173 w 553528"/>
                <a:gd name="connsiteY113" fmla="*/ 56423 h 114129"/>
                <a:gd name="connsiteX114" fmla="*/ 225728 w 553528"/>
                <a:gd name="connsiteY114" fmla="*/ 62416 h 114129"/>
                <a:gd name="connsiteX115" fmla="*/ 234670 w 553528"/>
                <a:gd name="connsiteY115" fmla="*/ 66011 h 114129"/>
                <a:gd name="connsiteX116" fmla="*/ 244890 w 553528"/>
                <a:gd name="connsiteY116" fmla="*/ 67210 h 114129"/>
                <a:gd name="connsiteX117" fmla="*/ 256387 w 553528"/>
                <a:gd name="connsiteY117" fmla="*/ 70805 h 114129"/>
                <a:gd name="connsiteX118" fmla="*/ 264052 w 553528"/>
                <a:gd name="connsiteY118" fmla="*/ 74400 h 114129"/>
                <a:gd name="connsiteX119" fmla="*/ 267885 w 553528"/>
                <a:gd name="connsiteY119" fmla="*/ 83988 h 114129"/>
                <a:gd name="connsiteX120" fmla="*/ 266607 w 553528"/>
                <a:gd name="connsiteY120" fmla="*/ 91179 h 114129"/>
                <a:gd name="connsiteX121" fmla="*/ 261497 w 553528"/>
                <a:gd name="connsiteY121" fmla="*/ 97171 h 114129"/>
                <a:gd name="connsiteX122" fmla="*/ 252555 w 553528"/>
                <a:gd name="connsiteY122" fmla="*/ 100767 h 114129"/>
                <a:gd name="connsiteX123" fmla="*/ 241058 w 553528"/>
                <a:gd name="connsiteY123" fmla="*/ 103164 h 114129"/>
                <a:gd name="connsiteX124" fmla="*/ 229561 w 553528"/>
                <a:gd name="connsiteY124" fmla="*/ 100767 h 114129"/>
                <a:gd name="connsiteX125" fmla="*/ 221896 w 553528"/>
                <a:gd name="connsiteY125" fmla="*/ 97171 h 114129"/>
                <a:gd name="connsiteX126" fmla="*/ 216786 w 553528"/>
                <a:gd name="connsiteY126" fmla="*/ 91179 h 114129"/>
                <a:gd name="connsiteX127" fmla="*/ 214231 w 553528"/>
                <a:gd name="connsiteY127" fmla="*/ 83988 h 114129"/>
                <a:gd name="connsiteX128" fmla="*/ 221896 w 553528"/>
                <a:gd name="connsiteY128" fmla="*/ 82790 h 114129"/>
                <a:gd name="connsiteX129" fmla="*/ 228283 w 553528"/>
                <a:gd name="connsiteY129" fmla="*/ 93576 h 114129"/>
                <a:gd name="connsiteX130" fmla="*/ 243613 w 553528"/>
                <a:gd name="connsiteY130" fmla="*/ 95973 h 114129"/>
                <a:gd name="connsiteX131" fmla="*/ 251277 w 553528"/>
                <a:gd name="connsiteY131" fmla="*/ 94774 h 114129"/>
                <a:gd name="connsiteX132" fmla="*/ 255110 w 553528"/>
                <a:gd name="connsiteY132" fmla="*/ 92378 h 114129"/>
                <a:gd name="connsiteX133" fmla="*/ 258942 w 553528"/>
                <a:gd name="connsiteY133" fmla="*/ 88782 h 114129"/>
                <a:gd name="connsiteX134" fmla="*/ 258942 w 553528"/>
                <a:gd name="connsiteY134" fmla="*/ 83988 h 114129"/>
                <a:gd name="connsiteX135" fmla="*/ 256387 w 553528"/>
                <a:gd name="connsiteY135" fmla="*/ 77996 h 114129"/>
                <a:gd name="connsiteX136" fmla="*/ 247445 w 553528"/>
                <a:gd name="connsiteY136" fmla="*/ 74400 h 114129"/>
                <a:gd name="connsiteX137" fmla="*/ 237225 w 553528"/>
                <a:gd name="connsiteY137" fmla="*/ 73202 h 114129"/>
                <a:gd name="connsiteX138" fmla="*/ 227006 w 553528"/>
                <a:gd name="connsiteY138" fmla="*/ 70805 h 114129"/>
                <a:gd name="connsiteX139" fmla="*/ 218063 w 553528"/>
                <a:gd name="connsiteY139" fmla="*/ 67210 h 114129"/>
                <a:gd name="connsiteX140" fmla="*/ 214231 w 553528"/>
                <a:gd name="connsiteY140" fmla="*/ 57622 h 114129"/>
                <a:gd name="connsiteX141" fmla="*/ 219341 w 553528"/>
                <a:gd name="connsiteY141" fmla="*/ 44439 h 114129"/>
                <a:gd name="connsiteX142" fmla="*/ 237225 w 553528"/>
                <a:gd name="connsiteY142" fmla="*/ 38446 h 114129"/>
                <a:gd name="connsiteX143" fmla="*/ 30517 w 553528"/>
                <a:gd name="connsiteY143" fmla="*/ 34784 h 114129"/>
                <a:gd name="connsiteX144" fmla="*/ 8545 w 553528"/>
                <a:gd name="connsiteY144" fmla="*/ 36005 h 114129"/>
                <a:gd name="connsiteX145" fmla="*/ 10986 w 553528"/>
                <a:gd name="connsiteY145" fmla="*/ 68963 h 114129"/>
                <a:gd name="connsiteX146" fmla="*/ 30517 w 553528"/>
                <a:gd name="connsiteY146" fmla="*/ 68963 h 114129"/>
                <a:gd name="connsiteX147" fmla="*/ 41503 w 553528"/>
                <a:gd name="connsiteY147" fmla="*/ 66522 h 114129"/>
                <a:gd name="connsiteX148" fmla="*/ 48827 w 553528"/>
                <a:gd name="connsiteY148" fmla="*/ 64081 h 114129"/>
                <a:gd name="connsiteX149" fmla="*/ 53709 w 553528"/>
                <a:gd name="connsiteY149" fmla="*/ 59198 h 114129"/>
                <a:gd name="connsiteX150" fmla="*/ 54930 w 553528"/>
                <a:gd name="connsiteY150" fmla="*/ 49432 h 114129"/>
                <a:gd name="connsiteX151" fmla="*/ 48827 w 553528"/>
                <a:gd name="connsiteY151" fmla="*/ 37226 h 114129"/>
                <a:gd name="connsiteX152" fmla="*/ 30517 w 553528"/>
                <a:gd name="connsiteY152" fmla="*/ 34784 h 114129"/>
                <a:gd name="connsiteX153" fmla="*/ 399052 w 553528"/>
                <a:gd name="connsiteY153" fmla="*/ 32955 h 114129"/>
                <a:gd name="connsiteX154" fmla="*/ 413269 w 553528"/>
                <a:gd name="connsiteY154" fmla="*/ 35397 h 114129"/>
                <a:gd name="connsiteX155" fmla="*/ 423609 w 553528"/>
                <a:gd name="connsiteY155" fmla="*/ 42721 h 114129"/>
                <a:gd name="connsiteX156" fmla="*/ 430072 w 553528"/>
                <a:gd name="connsiteY156" fmla="*/ 51265 h 114129"/>
                <a:gd name="connsiteX157" fmla="*/ 432657 w 553528"/>
                <a:gd name="connsiteY157" fmla="*/ 64693 h 114129"/>
                <a:gd name="connsiteX158" fmla="*/ 431364 w 553528"/>
                <a:gd name="connsiteY158" fmla="*/ 78120 h 114129"/>
                <a:gd name="connsiteX159" fmla="*/ 424902 w 553528"/>
                <a:gd name="connsiteY159" fmla="*/ 89106 h 114129"/>
                <a:gd name="connsiteX160" fmla="*/ 414562 w 553528"/>
                <a:gd name="connsiteY160" fmla="*/ 95209 h 114129"/>
                <a:gd name="connsiteX161" fmla="*/ 401637 w 553528"/>
                <a:gd name="connsiteY161" fmla="*/ 97651 h 114129"/>
                <a:gd name="connsiteX162" fmla="*/ 388713 w 553528"/>
                <a:gd name="connsiteY162" fmla="*/ 96430 h 114129"/>
                <a:gd name="connsiteX163" fmla="*/ 378373 w 553528"/>
                <a:gd name="connsiteY163" fmla="*/ 90327 h 114129"/>
                <a:gd name="connsiteX164" fmla="*/ 371910 w 553528"/>
                <a:gd name="connsiteY164" fmla="*/ 80561 h 114129"/>
                <a:gd name="connsiteX165" fmla="*/ 368033 w 553528"/>
                <a:gd name="connsiteY165" fmla="*/ 67134 h 114129"/>
                <a:gd name="connsiteX166" fmla="*/ 369325 w 553528"/>
                <a:gd name="connsiteY166" fmla="*/ 54927 h 114129"/>
                <a:gd name="connsiteX167" fmla="*/ 374495 w 553528"/>
                <a:gd name="connsiteY167" fmla="*/ 43941 h 114129"/>
                <a:gd name="connsiteX168" fmla="*/ 384835 w 553528"/>
                <a:gd name="connsiteY168" fmla="*/ 36617 h 114129"/>
                <a:gd name="connsiteX169" fmla="*/ 399052 w 553528"/>
                <a:gd name="connsiteY169" fmla="*/ 32955 h 114129"/>
                <a:gd name="connsiteX170" fmla="*/ 352446 w 553528"/>
                <a:gd name="connsiteY170" fmla="*/ 32955 h 114129"/>
                <a:gd name="connsiteX171" fmla="*/ 361280 w 553528"/>
                <a:gd name="connsiteY171" fmla="*/ 32955 h 114129"/>
                <a:gd name="connsiteX172" fmla="*/ 341089 w 553528"/>
                <a:gd name="connsiteY172" fmla="*/ 95209 h 114129"/>
                <a:gd name="connsiteX173" fmla="*/ 333517 w 553528"/>
                <a:gd name="connsiteY173" fmla="*/ 96430 h 114129"/>
                <a:gd name="connsiteX174" fmla="*/ 315850 w 553528"/>
                <a:gd name="connsiteY174" fmla="*/ 45162 h 114129"/>
                <a:gd name="connsiteX175" fmla="*/ 303231 w 553528"/>
                <a:gd name="connsiteY175" fmla="*/ 97651 h 114129"/>
                <a:gd name="connsiteX176" fmla="*/ 294397 w 553528"/>
                <a:gd name="connsiteY176" fmla="*/ 97651 h 114129"/>
                <a:gd name="connsiteX177" fmla="*/ 269158 w 553528"/>
                <a:gd name="connsiteY177" fmla="*/ 36617 h 114129"/>
                <a:gd name="connsiteX178" fmla="*/ 277992 w 553528"/>
                <a:gd name="connsiteY178" fmla="*/ 36617 h 114129"/>
                <a:gd name="connsiteX179" fmla="*/ 298183 w 553528"/>
                <a:gd name="connsiteY179" fmla="*/ 87885 h 114129"/>
                <a:gd name="connsiteX180" fmla="*/ 310802 w 553528"/>
                <a:gd name="connsiteY180" fmla="*/ 35397 h 114129"/>
                <a:gd name="connsiteX181" fmla="*/ 319636 w 553528"/>
                <a:gd name="connsiteY181" fmla="*/ 34176 h 114129"/>
                <a:gd name="connsiteX182" fmla="*/ 337303 w 553528"/>
                <a:gd name="connsiteY182" fmla="*/ 86665 h 114129"/>
                <a:gd name="connsiteX183" fmla="*/ 519303 w 553528"/>
                <a:gd name="connsiteY183" fmla="*/ 31980 h 114129"/>
                <a:gd name="connsiteX184" fmla="*/ 509162 w 553528"/>
                <a:gd name="connsiteY184" fmla="*/ 33259 h 114129"/>
                <a:gd name="connsiteX185" fmla="*/ 501556 w 553528"/>
                <a:gd name="connsiteY185" fmla="*/ 40934 h 114129"/>
                <a:gd name="connsiteX186" fmla="*/ 497753 w 553528"/>
                <a:gd name="connsiteY186" fmla="*/ 49889 h 114129"/>
                <a:gd name="connsiteX187" fmla="*/ 497753 w 553528"/>
                <a:gd name="connsiteY187" fmla="*/ 61401 h 114129"/>
                <a:gd name="connsiteX188" fmla="*/ 500289 w 553528"/>
                <a:gd name="connsiteY188" fmla="*/ 71635 h 114129"/>
                <a:gd name="connsiteX189" fmla="*/ 505359 w 553528"/>
                <a:gd name="connsiteY189" fmla="*/ 79310 h 114129"/>
                <a:gd name="connsiteX190" fmla="*/ 512965 w 553528"/>
                <a:gd name="connsiteY190" fmla="*/ 84427 h 114129"/>
                <a:gd name="connsiteX191" fmla="*/ 521838 w 553528"/>
                <a:gd name="connsiteY191" fmla="*/ 85706 h 114129"/>
                <a:gd name="connsiteX192" fmla="*/ 530711 w 553528"/>
                <a:gd name="connsiteY192" fmla="*/ 83148 h 114129"/>
                <a:gd name="connsiteX193" fmla="*/ 538317 w 553528"/>
                <a:gd name="connsiteY193" fmla="*/ 76752 h 114129"/>
                <a:gd name="connsiteX194" fmla="*/ 542120 w 553528"/>
                <a:gd name="connsiteY194" fmla="*/ 67797 h 114129"/>
                <a:gd name="connsiteX195" fmla="*/ 543387 w 553528"/>
                <a:gd name="connsiteY195" fmla="*/ 57564 h 114129"/>
                <a:gd name="connsiteX196" fmla="*/ 542120 w 553528"/>
                <a:gd name="connsiteY196" fmla="*/ 47330 h 114129"/>
                <a:gd name="connsiteX197" fmla="*/ 537049 w 553528"/>
                <a:gd name="connsiteY197" fmla="*/ 38376 h 114129"/>
                <a:gd name="connsiteX198" fmla="*/ 529444 w 553528"/>
                <a:gd name="connsiteY198" fmla="*/ 33259 h 114129"/>
                <a:gd name="connsiteX199" fmla="*/ 519303 w 553528"/>
                <a:gd name="connsiteY199" fmla="*/ 31980 h 114129"/>
                <a:gd name="connsiteX200" fmla="*/ 475362 w 553528"/>
                <a:gd name="connsiteY200" fmla="*/ 27460 h 114129"/>
                <a:gd name="connsiteX201" fmla="*/ 476629 w 553528"/>
                <a:gd name="connsiteY201" fmla="*/ 34922 h 114129"/>
                <a:gd name="connsiteX202" fmla="*/ 465221 w 553528"/>
                <a:gd name="connsiteY202" fmla="*/ 37410 h 114129"/>
                <a:gd name="connsiteX203" fmla="*/ 458883 w 553528"/>
                <a:gd name="connsiteY203" fmla="*/ 43628 h 114129"/>
                <a:gd name="connsiteX204" fmla="*/ 455080 w 553528"/>
                <a:gd name="connsiteY204" fmla="*/ 51091 h 114129"/>
                <a:gd name="connsiteX205" fmla="*/ 455080 w 553528"/>
                <a:gd name="connsiteY205" fmla="*/ 61040 h 114129"/>
                <a:gd name="connsiteX206" fmla="*/ 456348 w 553528"/>
                <a:gd name="connsiteY206" fmla="*/ 92133 h 114129"/>
                <a:gd name="connsiteX207" fmla="*/ 448742 w 553528"/>
                <a:gd name="connsiteY207" fmla="*/ 92133 h 114129"/>
                <a:gd name="connsiteX208" fmla="*/ 444939 w 553528"/>
                <a:gd name="connsiteY208" fmla="*/ 29948 h 114129"/>
                <a:gd name="connsiteX209" fmla="*/ 452545 w 553528"/>
                <a:gd name="connsiteY209" fmla="*/ 29948 h 114129"/>
                <a:gd name="connsiteX210" fmla="*/ 453812 w 553528"/>
                <a:gd name="connsiteY210" fmla="*/ 41141 h 114129"/>
                <a:gd name="connsiteX211" fmla="*/ 462686 w 553528"/>
                <a:gd name="connsiteY211" fmla="*/ 31191 h 114129"/>
                <a:gd name="connsiteX212" fmla="*/ 475362 w 553528"/>
                <a:gd name="connsiteY212" fmla="*/ 27460 h 114129"/>
                <a:gd name="connsiteX213" fmla="*/ 32958 w 553528"/>
                <a:gd name="connsiteY213" fmla="*/ 27460 h 114129"/>
                <a:gd name="connsiteX214" fmla="*/ 47606 w 553528"/>
                <a:gd name="connsiteY214" fmla="*/ 28681 h 114129"/>
                <a:gd name="connsiteX215" fmla="*/ 57371 w 553528"/>
                <a:gd name="connsiteY215" fmla="*/ 33564 h 114129"/>
                <a:gd name="connsiteX216" fmla="*/ 62254 w 553528"/>
                <a:gd name="connsiteY216" fmla="*/ 40888 h 114129"/>
                <a:gd name="connsiteX217" fmla="*/ 63475 w 553528"/>
                <a:gd name="connsiteY217" fmla="*/ 49432 h 114129"/>
                <a:gd name="connsiteX218" fmla="*/ 61033 w 553528"/>
                <a:gd name="connsiteY218" fmla="*/ 61639 h 114129"/>
                <a:gd name="connsiteX219" fmla="*/ 53709 w 553528"/>
                <a:gd name="connsiteY219" fmla="*/ 68963 h 114129"/>
                <a:gd name="connsiteX220" fmla="*/ 42723 w 553528"/>
                <a:gd name="connsiteY220" fmla="*/ 73846 h 114129"/>
                <a:gd name="connsiteX221" fmla="*/ 30517 w 553528"/>
                <a:gd name="connsiteY221" fmla="*/ 75067 h 114129"/>
                <a:gd name="connsiteX222" fmla="*/ 10986 w 553528"/>
                <a:gd name="connsiteY222" fmla="*/ 76287 h 114129"/>
                <a:gd name="connsiteX223" fmla="*/ 12207 w 553528"/>
                <a:gd name="connsiteY223" fmla="*/ 114129 h 114129"/>
                <a:gd name="connsiteX224" fmla="*/ 3662 w 553528"/>
                <a:gd name="connsiteY224" fmla="*/ 114129 h 114129"/>
                <a:gd name="connsiteX225" fmla="*/ 0 w 553528"/>
                <a:gd name="connsiteY225" fmla="*/ 28681 h 114129"/>
                <a:gd name="connsiteX226" fmla="*/ 540852 w 553528"/>
                <a:gd name="connsiteY226" fmla="*/ 0 h 114129"/>
                <a:gd name="connsiteX227" fmla="*/ 548458 w 553528"/>
                <a:gd name="connsiteY227" fmla="*/ 0 h 114129"/>
                <a:gd name="connsiteX228" fmla="*/ 553528 w 553528"/>
                <a:gd name="connsiteY228" fmla="*/ 89544 h 114129"/>
                <a:gd name="connsiteX229" fmla="*/ 545923 w 553528"/>
                <a:gd name="connsiteY229" fmla="*/ 89544 h 114129"/>
                <a:gd name="connsiteX230" fmla="*/ 544655 w 553528"/>
                <a:gd name="connsiteY230" fmla="*/ 78031 h 114129"/>
                <a:gd name="connsiteX231" fmla="*/ 539585 w 553528"/>
                <a:gd name="connsiteY231" fmla="*/ 83148 h 114129"/>
                <a:gd name="connsiteX232" fmla="*/ 534514 w 553528"/>
                <a:gd name="connsiteY232" fmla="*/ 88264 h 114129"/>
                <a:gd name="connsiteX233" fmla="*/ 528176 w 553528"/>
                <a:gd name="connsiteY233" fmla="*/ 90823 h 114129"/>
                <a:gd name="connsiteX234" fmla="*/ 521838 w 553528"/>
                <a:gd name="connsiteY234" fmla="*/ 92102 h 114129"/>
                <a:gd name="connsiteX235" fmla="*/ 507894 w 553528"/>
                <a:gd name="connsiteY235" fmla="*/ 89544 h 114129"/>
                <a:gd name="connsiteX236" fmla="*/ 497753 w 553528"/>
                <a:gd name="connsiteY236" fmla="*/ 83148 h 114129"/>
                <a:gd name="connsiteX237" fmla="*/ 491415 w 553528"/>
                <a:gd name="connsiteY237" fmla="*/ 72914 h 114129"/>
                <a:gd name="connsiteX238" fmla="*/ 488880 w 553528"/>
                <a:gd name="connsiteY238" fmla="*/ 60122 h 114129"/>
                <a:gd name="connsiteX239" fmla="*/ 490148 w 553528"/>
                <a:gd name="connsiteY239" fmla="*/ 47330 h 114129"/>
                <a:gd name="connsiteX240" fmla="*/ 495218 w 553528"/>
                <a:gd name="connsiteY240" fmla="*/ 35818 h 114129"/>
                <a:gd name="connsiteX241" fmla="*/ 504091 w 553528"/>
                <a:gd name="connsiteY241" fmla="*/ 28142 h 114129"/>
                <a:gd name="connsiteX242" fmla="*/ 516768 w 553528"/>
                <a:gd name="connsiteY242" fmla="*/ 24304 h 114129"/>
                <a:gd name="connsiteX243" fmla="*/ 530711 w 553528"/>
                <a:gd name="connsiteY243" fmla="*/ 26863 h 114129"/>
                <a:gd name="connsiteX244" fmla="*/ 542120 w 553528"/>
                <a:gd name="connsiteY244" fmla="*/ 34538 h 11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</a:cxnLst>
              <a:rect l="l" t="t" r="r" b="b"/>
              <a:pathLst>
                <a:path w="553528" h="114129">
                  <a:moveTo>
                    <a:pt x="124164" y="73903"/>
                  </a:moveTo>
                  <a:cubicBezTo>
                    <a:pt x="120432" y="75102"/>
                    <a:pt x="116701" y="76300"/>
                    <a:pt x="114214" y="77498"/>
                  </a:cubicBezTo>
                  <a:cubicBezTo>
                    <a:pt x="111727" y="77498"/>
                    <a:pt x="106752" y="77498"/>
                    <a:pt x="104264" y="77498"/>
                  </a:cubicBezTo>
                  <a:cubicBezTo>
                    <a:pt x="98046" y="78697"/>
                    <a:pt x="93071" y="79895"/>
                    <a:pt x="90584" y="82292"/>
                  </a:cubicBezTo>
                  <a:cubicBezTo>
                    <a:pt x="88096" y="84689"/>
                    <a:pt x="85609" y="87086"/>
                    <a:pt x="85609" y="91880"/>
                  </a:cubicBezTo>
                  <a:cubicBezTo>
                    <a:pt x="85609" y="94277"/>
                    <a:pt x="86853" y="95476"/>
                    <a:pt x="88096" y="96674"/>
                  </a:cubicBezTo>
                  <a:cubicBezTo>
                    <a:pt x="88096" y="97873"/>
                    <a:pt x="89340" y="99071"/>
                    <a:pt x="90584" y="100269"/>
                  </a:cubicBezTo>
                  <a:cubicBezTo>
                    <a:pt x="91827" y="100269"/>
                    <a:pt x="93071" y="101468"/>
                    <a:pt x="95558" y="101468"/>
                  </a:cubicBezTo>
                  <a:cubicBezTo>
                    <a:pt x="96802" y="102666"/>
                    <a:pt x="99290" y="102666"/>
                    <a:pt x="100533" y="102666"/>
                  </a:cubicBezTo>
                  <a:cubicBezTo>
                    <a:pt x="104264" y="102666"/>
                    <a:pt x="106752" y="101468"/>
                    <a:pt x="109239" y="100269"/>
                  </a:cubicBezTo>
                  <a:cubicBezTo>
                    <a:pt x="112970" y="100269"/>
                    <a:pt x="114214" y="97873"/>
                    <a:pt x="116701" y="96674"/>
                  </a:cubicBezTo>
                  <a:cubicBezTo>
                    <a:pt x="119189" y="95476"/>
                    <a:pt x="121676" y="93079"/>
                    <a:pt x="122920" y="90682"/>
                  </a:cubicBezTo>
                  <a:cubicBezTo>
                    <a:pt x="124164" y="88285"/>
                    <a:pt x="125407" y="87086"/>
                    <a:pt x="124164" y="83491"/>
                  </a:cubicBezTo>
                  <a:close/>
                  <a:moveTo>
                    <a:pt x="105508" y="45140"/>
                  </a:moveTo>
                  <a:cubicBezTo>
                    <a:pt x="109239" y="43941"/>
                    <a:pt x="112970" y="45140"/>
                    <a:pt x="115458" y="45140"/>
                  </a:cubicBezTo>
                  <a:cubicBezTo>
                    <a:pt x="119189" y="46338"/>
                    <a:pt x="120432" y="46338"/>
                    <a:pt x="122920" y="47537"/>
                  </a:cubicBezTo>
                  <a:cubicBezTo>
                    <a:pt x="125407" y="48735"/>
                    <a:pt x="126651" y="51132"/>
                    <a:pt x="127895" y="53529"/>
                  </a:cubicBezTo>
                  <a:cubicBezTo>
                    <a:pt x="130382" y="55926"/>
                    <a:pt x="130382" y="59521"/>
                    <a:pt x="130382" y="61918"/>
                  </a:cubicBezTo>
                  <a:lnTo>
                    <a:pt x="132869" y="94277"/>
                  </a:lnTo>
                  <a:cubicBezTo>
                    <a:pt x="132869" y="97873"/>
                    <a:pt x="132869" y="99071"/>
                    <a:pt x="134113" y="100269"/>
                  </a:cubicBezTo>
                  <a:cubicBezTo>
                    <a:pt x="135357" y="100269"/>
                    <a:pt x="137844" y="100269"/>
                    <a:pt x="140332" y="99071"/>
                  </a:cubicBezTo>
                  <a:lnTo>
                    <a:pt x="141575" y="103865"/>
                  </a:lnTo>
                  <a:cubicBezTo>
                    <a:pt x="140332" y="105063"/>
                    <a:pt x="140332" y="105063"/>
                    <a:pt x="139088" y="106262"/>
                  </a:cubicBezTo>
                  <a:cubicBezTo>
                    <a:pt x="137844" y="106262"/>
                    <a:pt x="136601" y="106262"/>
                    <a:pt x="135357" y="106262"/>
                  </a:cubicBezTo>
                  <a:cubicBezTo>
                    <a:pt x="134113" y="106262"/>
                    <a:pt x="132869" y="106262"/>
                    <a:pt x="131626" y="106262"/>
                  </a:cubicBezTo>
                  <a:cubicBezTo>
                    <a:pt x="130382" y="106262"/>
                    <a:pt x="129138" y="106262"/>
                    <a:pt x="127895" y="105063"/>
                  </a:cubicBezTo>
                  <a:cubicBezTo>
                    <a:pt x="127895" y="103865"/>
                    <a:pt x="126651" y="103865"/>
                    <a:pt x="126651" y="102666"/>
                  </a:cubicBezTo>
                  <a:cubicBezTo>
                    <a:pt x="126651" y="102666"/>
                    <a:pt x="125407" y="101468"/>
                    <a:pt x="125407" y="100269"/>
                  </a:cubicBezTo>
                  <a:cubicBezTo>
                    <a:pt x="125407" y="99071"/>
                    <a:pt x="125407" y="97873"/>
                    <a:pt x="125407" y="96674"/>
                  </a:cubicBezTo>
                  <a:cubicBezTo>
                    <a:pt x="121676" y="100269"/>
                    <a:pt x="119189" y="103865"/>
                    <a:pt x="114214" y="105063"/>
                  </a:cubicBezTo>
                  <a:cubicBezTo>
                    <a:pt x="110483" y="107460"/>
                    <a:pt x="105508" y="108659"/>
                    <a:pt x="100533" y="108659"/>
                  </a:cubicBezTo>
                  <a:cubicBezTo>
                    <a:pt x="98046" y="108659"/>
                    <a:pt x="95558" y="108659"/>
                    <a:pt x="91827" y="108659"/>
                  </a:cubicBezTo>
                  <a:cubicBezTo>
                    <a:pt x="89340" y="107460"/>
                    <a:pt x="86853" y="106262"/>
                    <a:pt x="85609" y="105063"/>
                  </a:cubicBezTo>
                  <a:cubicBezTo>
                    <a:pt x="83121" y="103865"/>
                    <a:pt x="81878" y="101468"/>
                    <a:pt x="79390" y="100269"/>
                  </a:cubicBezTo>
                  <a:cubicBezTo>
                    <a:pt x="78147" y="97873"/>
                    <a:pt x="76903" y="94277"/>
                    <a:pt x="76903" y="91880"/>
                  </a:cubicBezTo>
                  <a:cubicBezTo>
                    <a:pt x="76903" y="81094"/>
                    <a:pt x="84365" y="75102"/>
                    <a:pt x="99290" y="72705"/>
                  </a:cubicBezTo>
                  <a:lnTo>
                    <a:pt x="110483" y="71506"/>
                  </a:lnTo>
                  <a:cubicBezTo>
                    <a:pt x="111727" y="70308"/>
                    <a:pt x="114214" y="70308"/>
                    <a:pt x="115458" y="70308"/>
                  </a:cubicBezTo>
                  <a:cubicBezTo>
                    <a:pt x="117945" y="70308"/>
                    <a:pt x="119189" y="69109"/>
                    <a:pt x="120432" y="67911"/>
                  </a:cubicBezTo>
                  <a:cubicBezTo>
                    <a:pt x="121676" y="67911"/>
                    <a:pt x="122920" y="66712"/>
                    <a:pt x="122920" y="66712"/>
                  </a:cubicBezTo>
                  <a:cubicBezTo>
                    <a:pt x="122920" y="64315"/>
                    <a:pt x="122920" y="63117"/>
                    <a:pt x="122920" y="61918"/>
                  </a:cubicBezTo>
                  <a:cubicBezTo>
                    <a:pt x="122920" y="59521"/>
                    <a:pt x="121676" y="55926"/>
                    <a:pt x="119189" y="53529"/>
                  </a:cubicBezTo>
                  <a:cubicBezTo>
                    <a:pt x="116701" y="51132"/>
                    <a:pt x="111727" y="51132"/>
                    <a:pt x="105508" y="51132"/>
                  </a:cubicBezTo>
                  <a:cubicBezTo>
                    <a:pt x="103021" y="51132"/>
                    <a:pt x="100533" y="51132"/>
                    <a:pt x="99290" y="51132"/>
                  </a:cubicBezTo>
                  <a:cubicBezTo>
                    <a:pt x="96802" y="52331"/>
                    <a:pt x="94315" y="53529"/>
                    <a:pt x="93071" y="54728"/>
                  </a:cubicBezTo>
                  <a:cubicBezTo>
                    <a:pt x="90584" y="54728"/>
                    <a:pt x="89340" y="57124"/>
                    <a:pt x="89340" y="59521"/>
                  </a:cubicBezTo>
                  <a:cubicBezTo>
                    <a:pt x="88096" y="60720"/>
                    <a:pt x="88096" y="61918"/>
                    <a:pt x="88096" y="65514"/>
                  </a:cubicBezTo>
                  <a:lnTo>
                    <a:pt x="79390" y="65514"/>
                  </a:lnTo>
                  <a:cubicBezTo>
                    <a:pt x="79390" y="61918"/>
                    <a:pt x="79390" y="59521"/>
                    <a:pt x="81878" y="57124"/>
                  </a:cubicBezTo>
                  <a:cubicBezTo>
                    <a:pt x="83121" y="53529"/>
                    <a:pt x="85609" y="51132"/>
                    <a:pt x="88096" y="49934"/>
                  </a:cubicBezTo>
                  <a:cubicBezTo>
                    <a:pt x="89340" y="48735"/>
                    <a:pt x="93071" y="47537"/>
                    <a:pt x="95558" y="46338"/>
                  </a:cubicBezTo>
                  <a:cubicBezTo>
                    <a:pt x="99290" y="45140"/>
                    <a:pt x="101777" y="45140"/>
                    <a:pt x="105508" y="45140"/>
                  </a:cubicBezTo>
                  <a:close/>
                  <a:moveTo>
                    <a:pt x="171308" y="43941"/>
                  </a:moveTo>
                  <a:cubicBezTo>
                    <a:pt x="178973" y="43941"/>
                    <a:pt x="185360" y="45162"/>
                    <a:pt x="190470" y="47603"/>
                  </a:cubicBezTo>
                  <a:cubicBezTo>
                    <a:pt x="195580" y="50045"/>
                    <a:pt x="198135" y="54927"/>
                    <a:pt x="199413" y="62251"/>
                  </a:cubicBezTo>
                  <a:lnTo>
                    <a:pt x="191748" y="62251"/>
                  </a:lnTo>
                  <a:cubicBezTo>
                    <a:pt x="190470" y="57369"/>
                    <a:pt x="187915" y="54927"/>
                    <a:pt x="184083" y="52486"/>
                  </a:cubicBezTo>
                  <a:cubicBezTo>
                    <a:pt x="181528" y="51265"/>
                    <a:pt x="177696" y="50045"/>
                    <a:pt x="171308" y="50045"/>
                  </a:cubicBezTo>
                  <a:cubicBezTo>
                    <a:pt x="167476" y="50045"/>
                    <a:pt x="163644" y="51265"/>
                    <a:pt x="161089" y="53707"/>
                  </a:cubicBezTo>
                  <a:cubicBezTo>
                    <a:pt x="157256" y="56148"/>
                    <a:pt x="157256" y="58589"/>
                    <a:pt x="157256" y="62251"/>
                  </a:cubicBezTo>
                  <a:cubicBezTo>
                    <a:pt x="157256" y="64693"/>
                    <a:pt x="158534" y="65913"/>
                    <a:pt x="161089" y="67134"/>
                  </a:cubicBezTo>
                  <a:cubicBezTo>
                    <a:pt x="163644" y="69575"/>
                    <a:pt x="164921" y="70796"/>
                    <a:pt x="168753" y="70796"/>
                  </a:cubicBezTo>
                  <a:cubicBezTo>
                    <a:pt x="172586" y="72017"/>
                    <a:pt x="175141" y="72017"/>
                    <a:pt x="178973" y="73237"/>
                  </a:cubicBezTo>
                  <a:cubicBezTo>
                    <a:pt x="184083" y="73237"/>
                    <a:pt x="187915" y="74458"/>
                    <a:pt x="190470" y="75679"/>
                  </a:cubicBezTo>
                  <a:cubicBezTo>
                    <a:pt x="193025" y="76899"/>
                    <a:pt x="196858" y="78120"/>
                    <a:pt x="199413" y="80561"/>
                  </a:cubicBezTo>
                  <a:cubicBezTo>
                    <a:pt x="200690" y="83003"/>
                    <a:pt x="201968" y="85444"/>
                    <a:pt x="201968" y="89106"/>
                  </a:cubicBezTo>
                  <a:cubicBezTo>
                    <a:pt x="201968" y="91547"/>
                    <a:pt x="201968" y="95209"/>
                    <a:pt x="200690" y="97651"/>
                  </a:cubicBezTo>
                  <a:cubicBezTo>
                    <a:pt x="199413" y="100092"/>
                    <a:pt x="198135" y="101313"/>
                    <a:pt x="195580" y="103754"/>
                  </a:cubicBezTo>
                  <a:cubicBezTo>
                    <a:pt x="193025" y="104975"/>
                    <a:pt x="190470" y="106195"/>
                    <a:pt x="186638" y="107416"/>
                  </a:cubicBezTo>
                  <a:cubicBezTo>
                    <a:pt x="184083" y="107416"/>
                    <a:pt x="178973" y="108637"/>
                    <a:pt x="175141" y="108637"/>
                  </a:cubicBezTo>
                  <a:cubicBezTo>
                    <a:pt x="171308" y="108637"/>
                    <a:pt x="167476" y="108637"/>
                    <a:pt x="164921" y="107416"/>
                  </a:cubicBezTo>
                  <a:cubicBezTo>
                    <a:pt x="161089" y="106195"/>
                    <a:pt x="158534" y="104975"/>
                    <a:pt x="155979" y="103754"/>
                  </a:cubicBezTo>
                  <a:cubicBezTo>
                    <a:pt x="153424" y="101313"/>
                    <a:pt x="152146" y="100092"/>
                    <a:pt x="150869" y="96430"/>
                  </a:cubicBezTo>
                  <a:cubicBezTo>
                    <a:pt x="148314" y="93989"/>
                    <a:pt x="148314" y="91547"/>
                    <a:pt x="148314" y="89106"/>
                  </a:cubicBezTo>
                  <a:lnTo>
                    <a:pt x="155979" y="89106"/>
                  </a:lnTo>
                  <a:cubicBezTo>
                    <a:pt x="157256" y="93989"/>
                    <a:pt x="159811" y="97651"/>
                    <a:pt x="163644" y="100092"/>
                  </a:cubicBezTo>
                  <a:cubicBezTo>
                    <a:pt x="167476" y="101313"/>
                    <a:pt x="171308" y="102533"/>
                    <a:pt x="177696" y="101313"/>
                  </a:cubicBezTo>
                  <a:cubicBezTo>
                    <a:pt x="180251" y="101313"/>
                    <a:pt x="182806" y="101313"/>
                    <a:pt x="185360" y="100092"/>
                  </a:cubicBezTo>
                  <a:cubicBezTo>
                    <a:pt x="187915" y="100092"/>
                    <a:pt x="189193" y="98871"/>
                    <a:pt x="190470" y="97651"/>
                  </a:cubicBezTo>
                  <a:cubicBezTo>
                    <a:pt x="191748" y="96430"/>
                    <a:pt x="193025" y="96430"/>
                    <a:pt x="193025" y="93989"/>
                  </a:cubicBezTo>
                  <a:cubicBezTo>
                    <a:pt x="193025" y="92768"/>
                    <a:pt x="194303" y="91547"/>
                    <a:pt x="193025" y="90327"/>
                  </a:cubicBezTo>
                  <a:cubicBezTo>
                    <a:pt x="193025" y="86665"/>
                    <a:pt x="193025" y="84223"/>
                    <a:pt x="190470" y="83003"/>
                  </a:cubicBezTo>
                  <a:cubicBezTo>
                    <a:pt x="187915" y="81782"/>
                    <a:pt x="185360" y="80561"/>
                    <a:pt x="181528" y="80561"/>
                  </a:cubicBezTo>
                  <a:cubicBezTo>
                    <a:pt x="178973" y="79341"/>
                    <a:pt x="175141" y="78120"/>
                    <a:pt x="171308" y="78120"/>
                  </a:cubicBezTo>
                  <a:cubicBezTo>
                    <a:pt x="167476" y="78120"/>
                    <a:pt x="163644" y="76899"/>
                    <a:pt x="161089" y="76899"/>
                  </a:cubicBezTo>
                  <a:cubicBezTo>
                    <a:pt x="157256" y="75679"/>
                    <a:pt x="154701" y="73237"/>
                    <a:pt x="152146" y="72017"/>
                  </a:cubicBezTo>
                  <a:cubicBezTo>
                    <a:pt x="149591" y="69575"/>
                    <a:pt x="148314" y="67134"/>
                    <a:pt x="148314" y="62251"/>
                  </a:cubicBezTo>
                  <a:cubicBezTo>
                    <a:pt x="148314" y="57369"/>
                    <a:pt x="149591" y="53707"/>
                    <a:pt x="154701" y="50045"/>
                  </a:cubicBezTo>
                  <a:cubicBezTo>
                    <a:pt x="158534" y="46383"/>
                    <a:pt x="163644" y="43941"/>
                    <a:pt x="171308" y="43941"/>
                  </a:cubicBezTo>
                  <a:close/>
                  <a:moveTo>
                    <a:pt x="399052" y="40279"/>
                  </a:moveTo>
                  <a:cubicBezTo>
                    <a:pt x="395175" y="40279"/>
                    <a:pt x="391297" y="40279"/>
                    <a:pt x="388713" y="42721"/>
                  </a:cubicBezTo>
                  <a:cubicBezTo>
                    <a:pt x="384835" y="43941"/>
                    <a:pt x="382250" y="46383"/>
                    <a:pt x="380958" y="48824"/>
                  </a:cubicBezTo>
                  <a:cubicBezTo>
                    <a:pt x="379665" y="51265"/>
                    <a:pt x="378373" y="53707"/>
                    <a:pt x="378373" y="57369"/>
                  </a:cubicBezTo>
                  <a:cubicBezTo>
                    <a:pt x="377080" y="59810"/>
                    <a:pt x="375788" y="63472"/>
                    <a:pt x="375788" y="67134"/>
                  </a:cubicBezTo>
                  <a:cubicBezTo>
                    <a:pt x="377080" y="70796"/>
                    <a:pt x="378373" y="74458"/>
                    <a:pt x="378373" y="76899"/>
                  </a:cubicBezTo>
                  <a:cubicBezTo>
                    <a:pt x="380958" y="80561"/>
                    <a:pt x="382250" y="83003"/>
                    <a:pt x="383543" y="85444"/>
                  </a:cubicBezTo>
                  <a:cubicBezTo>
                    <a:pt x="386128" y="87885"/>
                    <a:pt x="388713" y="89106"/>
                    <a:pt x="391297" y="90327"/>
                  </a:cubicBezTo>
                  <a:cubicBezTo>
                    <a:pt x="395175" y="91547"/>
                    <a:pt x="397760" y="91547"/>
                    <a:pt x="401637" y="91547"/>
                  </a:cubicBezTo>
                  <a:cubicBezTo>
                    <a:pt x="405515" y="91547"/>
                    <a:pt x="409392" y="90327"/>
                    <a:pt x="411977" y="89106"/>
                  </a:cubicBezTo>
                  <a:cubicBezTo>
                    <a:pt x="414562" y="87885"/>
                    <a:pt x="417147" y="85444"/>
                    <a:pt x="419732" y="83003"/>
                  </a:cubicBezTo>
                  <a:cubicBezTo>
                    <a:pt x="421024" y="80561"/>
                    <a:pt x="422317" y="76899"/>
                    <a:pt x="423609" y="74458"/>
                  </a:cubicBezTo>
                  <a:cubicBezTo>
                    <a:pt x="423609" y="70796"/>
                    <a:pt x="423609" y="68355"/>
                    <a:pt x="423609" y="64693"/>
                  </a:cubicBezTo>
                  <a:cubicBezTo>
                    <a:pt x="423609" y="61031"/>
                    <a:pt x="423609" y="57369"/>
                    <a:pt x="422317" y="54927"/>
                  </a:cubicBezTo>
                  <a:cubicBezTo>
                    <a:pt x="421024" y="51265"/>
                    <a:pt x="419732" y="48824"/>
                    <a:pt x="417147" y="46383"/>
                  </a:cubicBezTo>
                  <a:cubicBezTo>
                    <a:pt x="414562" y="43941"/>
                    <a:pt x="413269" y="42721"/>
                    <a:pt x="409392" y="41500"/>
                  </a:cubicBezTo>
                  <a:cubicBezTo>
                    <a:pt x="406807" y="40279"/>
                    <a:pt x="402930" y="40279"/>
                    <a:pt x="399052" y="40279"/>
                  </a:cubicBezTo>
                  <a:close/>
                  <a:moveTo>
                    <a:pt x="237225" y="38446"/>
                  </a:moveTo>
                  <a:cubicBezTo>
                    <a:pt x="244890" y="38446"/>
                    <a:pt x="251277" y="40843"/>
                    <a:pt x="255110" y="42042"/>
                  </a:cubicBezTo>
                  <a:cubicBezTo>
                    <a:pt x="260220" y="45637"/>
                    <a:pt x="264052" y="49233"/>
                    <a:pt x="265330" y="57622"/>
                  </a:cubicBezTo>
                  <a:lnTo>
                    <a:pt x="257665" y="57622"/>
                  </a:lnTo>
                  <a:cubicBezTo>
                    <a:pt x="255110" y="52828"/>
                    <a:pt x="253832" y="49233"/>
                    <a:pt x="250000" y="48034"/>
                  </a:cubicBezTo>
                  <a:cubicBezTo>
                    <a:pt x="247445" y="46836"/>
                    <a:pt x="242335" y="45637"/>
                    <a:pt x="237225" y="45637"/>
                  </a:cubicBezTo>
                  <a:cubicBezTo>
                    <a:pt x="233393" y="45637"/>
                    <a:pt x="228283" y="46836"/>
                    <a:pt x="225728" y="49233"/>
                  </a:cubicBezTo>
                  <a:cubicBezTo>
                    <a:pt x="223173" y="50431"/>
                    <a:pt x="223173" y="54026"/>
                    <a:pt x="223173" y="56423"/>
                  </a:cubicBezTo>
                  <a:cubicBezTo>
                    <a:pt x="223173" y="60019"/>
                    <a:pt x="224451" y="61217"/>
                    <a:pt x="225728" y="62416"/>
                  </a:cubicBezTo>
                  <a:cubicBezTo>
                    <a:pt x="228283" y="63614"/>
                    <a:pt x="232116" y="64813"/>
                    <a:pt x="234670" y="66011"/>
                  </a:cubicBezTo>
                  <a:cubicBezTo>
                    <a:pt x="237225" y="67210"/>
                    <a:pt x="241058" y="67210"/>
                    <a:pt x="244890" y="67210"/>
                  </a:cubicBezTo>
                  <a:cubicBezTo>
                    <a:pt x="248723" y="68408"/>
                    <a:pt x="252555" y="68408"/>
                    <a:pt x="256387" y="70805"/>
                  </a:cubicBezTo>
                  <a:cubicBezTo>
                    <a:pt x="258942" y="70805"/>
                    <a:pt x="261497" y="73202"/>
                    <a:pt x="264052" y="74400"/>
                  </a:cubicBezTo>
                  <a:cubicBezTo>
                    <a:pt x="266607" y="76797"/>
                    <a:pt x="267885" y="80393"/>
                    <a:pt x="267885" y="83988"/>
                  </a:cubicBezTo>
                  <a:cubicBezTo>
                    <a:pt x="267885" y="86385"/>
                    <a:pt x="267885" y="88782"/>
                    <a:pt x="266607" y="91179"/>
                  </a:cubicBezTo>
                  <a:cubicBezTo>
                    <a:pt x="265330" y="93576"/>
                    <a:pt x="264052" y="95973"/>
                    <a:pt x="261497" y="97171"/>
                  </a:cubicBezTo>
                  <a:cubicBezTo>
                    <a:pt x="258942" y="98370"/>
                    <a:pt x="255110" y="99568"/>
                    <a:pt x="252555" y="100767"/>
                  </a:cubicBezTo>
                  <a:cubicBezTo>
                    <a:pt x="248723" y="101965"/>
                    <a:pt x="244890" y="103164"/>
                    <a:pt x="241058" y="103164"/>
                  </a:cubicBezTo>
                  <a:cubicBezTo>
                    <a:pt x="237225" y="103164"/>
                    <a:pt x="233393" y="103164"/>
                    <a:pt x="229561" y="100767"/>
                  </a:cubicBezTo>
                  <a:cubicBezTo>
                    <a:pt x="227006" y="100767"/>
                    <a:pt x="224451" y="98370"/>
                    <a:pt x="221896" y="97171"/>
                  </a:cubicBezTo>
                  <a:cubicBezTo>
                    <a:pt x="219341" y="95973"/>
                    <a:pt x="218063" y="93576"/>
                    <a:pt x="216786" y="91179"/>
                  </a:cubicBezTo>
                  <a:cubicBezTo>
                    <a:pt x="215508" y="88782"/>
                    <a:pt x="214231" y="86385"/>
                    <a:pt x="214231" y="83988"/>
                  </a:cubicBezTo>
                  <a:lnTo>
                    <a:pt x="221896" y="82790"/>
                  </a:lnTo>
                  <a:cubicBezTo>
                    <a:pt x="223173" y="87584"/>
                    <a:pt x="225728" y="91179"/>
                    <a:pt x="228283" y="93576"/>
                  </a:cubicBezTo>
                  <a:cubicBezTo>
                    <a:pt x="233393" y="94774"/>
                    <a:pt x="237225" y="97171"/>
                    <a:pt x="243613" y="95973"/>
                  </a:cubicBezTo>
                  <a:cubicBezTo>
                    <a:pt x="246168" y="95973"/>
                    <a:pt x="248723" y="94774"/>
                    <a:pt x="251277" y="94774"/>
                  </a:cubicBezTo>
                  <a:cubicBezTo>
                    <a:pt x="252555" y="93576"/>
                    <a:pt x="255110" y="93576"/>
                    <a:pt x="255110" y="92378"/>
                  </a:cubicBezTo>
                  <a:cubicBezTo>
                    <a:pt x="257665" y="91179"/>
                    <a:pt x="257665" y="89981"/>
                    <a:pt x="258942" y="88782"/>
                  </a:cubicBezTo>
                  <a:cubicBezTo>
                    <a:pt x="258942" y="87584"/>
                    <a:pt x="258942" y="86385"/>
                    <a:pt x="258942" y="83988"/>
                  </a:cubicBezTo>
                  <a:cubicBezTo>
                    <a:pt x="258942" y="81591"/>
                    <a:pt x="257665" y="79194"/>
                    <a:pt x="256387" y="77996"/>
                  </a:cubicBezTo>
                  <a:cubicBezTo>
                    <a:pt x="253832" y="75599"/>
                    <a:pt x="251277" y="75599"/>
                    <a:pt x="247445" y="74400"/>
                  </a:cubicBezTo>
                  <a:cubicBezTo>
                    <a:pt x="244890" y="74400"/>
                    <a:pt x="241058" y="73202"/>
                    <a:pt x="237225" y="73202"/>
                  </a:cubicBezTo>
                  <a:cubicBezTo>
                    <a:pt x="233393" y="73202"/>
                    <a:pt x="229561" y="72003"/>
                    <a:pt x="227006" y="70805"/>
                  </a:cubicBezTo>
                  <a:cubicBezTo>
                    <a:pt x="223173" y="70805"/>
                    <a:pt x="220618" y="68408"/>
                    <a:pt x="218063" y="67210"/>
                  </a:cubicBezTo>
                  <a:cubicBezTo>
                    <a:pt x="215508" y="64813"/>
                    <a:pt x="214231" y="61217"/>
                    <a:pt x="214231" y="57622"/>
                  </a:cubicBezTo>
                  <a:cubicBezTo>
                    <a:pt x="214231" y="51629"/>
                    <a:pt x="215508" y="48034"/>
                    <a:pt x="219341" y="44439"/>
                  </a:cubicBezTo>
                  <a:cubicBezTo>
                    <a:pt x="223173" y="40843"/>
                    <a:pt x="229561" y="39645"/>
                    <a:pt x="237225" y="38446"/>
                  </a:cubicBezTo>
                  <a:close/>
                  <a:moveTo>
                    <a:pt x="30517" y="34784"/>
                  </a:moveTo>
                  <a:lnTo>
                    <a:pt x="8545" y="36005"/>
                  </a:lnTo>
                  <a:lnTo>
                    <a:pt x="10986" y="68963"/>
                  </a:lnTo>
                  <a:lnTo>
                    <a:pt x="30517" y="68963"/>
                  </a:lnTo>
                  <a:cubicBezTo>
                    <a:pt x="34179" y="68963"/>
                    <a:pt x="37841" y="67743"/>
                    <a:pt x="41503" y="66522"/>
                  </a:cubicBezTo>
                  <a:cubicBezTo>
                    <a:pt x="43944" y="66522"/>
                    <a:pt x="46385" y="65301"/>
                    <a:pt x="48827" y="64081"/>
                  </a:cubicBezTo>
                  <a:cubicBezTo>
                    <a:pt x="51268" y="62860"/>
                    <a:pt x="52489" y="61639"/>
                    <a:pt x="53709" y="59198"/>
                  </a:cubicBezTo>
                  <a:cubicBezTo>
                    <a:pt x="54930" y="56757"/>
                    <a:pt x="54930" y="53095"/>
                    <a:pt x="54930" y="49432"/>
                  </a:cubicBezTo>
                  <a:cubicBezTo>
                    <a:pt x="54930" y="44550"/>
                    <a:pt x="53709" y="39667"/>
                    <a:pt x="48827" y="37226"/>
                  </a:cubicBezTo>
                  <a:cubicBezTo>
                    <a:pt x="45165" y="34784"/>
                    <a:pt x="39061" y="34784"/>
                    <a:pt x="30517" y="34784"/>
                  </a:cubicBezTo>
                  <a:close/>
                  <a:moveTo>
                    <a:pt x="399052" y="32955"/>
                  </a:moveTo>
                  <a:cubicBezTo>
                    <a:pt x="404222" y="32955"/>
                    <a:pt x="409392" y="34176"/>
                    <a:pt x="413269" y="35397"/>
                  </a:cubicBezTo>
                  <a:cubicBezTo>
                    <a:pt x="417147" y="36617"/>
                    <a:pt x="421024" y="39059"/>
                    <a:pt x="423609" y="42721"/>
                  </a:cubicBezTo>
                  <a:cubicBezTo>
                    <a:pt x="426194" y="43941"/>
                    <a:pt x="428779" y="48824"/>
                    <a:pt x="430072" y="51265"/>
                  </a:cubicBezTo>
                  <a:cubicBezTo>
                    <a:pt x="431364" y="56148"/>
                    <a:pt x="432657" y="59810"/>
                    <a:pt x="432657" y="64693"/>
                  </a:cubicBezTo>
                  <a:cubicBezTo>
                    <a:pt x="432657" y="69575"/>
                    <a:pt x="432657" y="73237"/>
                    <a:pt x="431364" y="78120"/>
                  </a:cubicBezTo>
                  <a:cubicBezTo>
                    <a:pt x="428779" y="81782"/>
                    <a:pt x="427487" y="85444"/>
                    <a:pt x="424902" y="89106"/>
                  </a:cubicBezTo>
                  <a:cubicBezTo>
                    <a:pt x="422317" y="91547"/>
                    <a:pt x="419732" y="93989"/>
                    <a:pt x="414562" y="95209"/>
                  </a:cubicBezTo>
                  <a:cubicBezTo>
                    <a:pt x="410685" y="96430"/>
                    <a:pt x="406807" y="97651"/>
                    <a:pt x="401637" y="97651"/>
                  </a:cubicBezTo>
                  <a:cubicBezTo>
                    <a:pt x="397760" y="97651"/>
                    <a:pt x="392590" y="97651"/>
                    <a:pt x="388713" y="96430"/>
                  </a:cubicBezTo>
                  <a:cubicBezTo>
                    <a:pt x="384835" y="95209"/>
                    <a:pt x="382250" y="93989"/>
                    <a:pt x="378373" y="90327"/>
                  </a:cubicBezTo>
                  <a:cubicBezTo>
                    <a:pt x="375788" y="89106"/>
                    <a:pt x="373203" y="85444"/>
                    <a:pt x="371910" y="80561"/>
                  </a:cubicBezTo>
                  <a:cubicBezTo>
                    <a:pt x="369325" y="76899"/>
                    <a:pt x="368033" y="73237"/>
                    <a:pt x="368033" y="67134"/>
                  </a:cubicBezTo>
                  <a:cubicBezTo>
                    <a:pt x="368033" y="63472"/>
                    <a:pt x="368033" y="58589"/>
                    <a:pt x="369325" y="54927"/>
                  </a:cubicBezTo>
                  <a:cubicBezTo>
                    <a:pt x="370618" y="50045"/>
                    <a:pt x="373203" y="47603"/>
                    <a:pt x="374495" y="43941"/>
                  </a:cubicBezTo>
                  <a:cubicBezTo>
                    <a:pt x="378373" y="40279"/>
                    <a:pt x="380958" y="37838"/>
                    <a:pt x="384835" y="36617"/>
                  </a:cubicBezTo>
                  <a:cubicBezTo>
                    <a:pt x="388713" y="35397"/>
                    <a:pt x="392590" y="34176"/>
                    <a:pt x="399052" y="32955"/>
                  </a:cubicBezTo>
                  <a:close/>
                  <a:moveTo>
                    <a:pt x="352446" y="32955"/>
                  </a:moveTo>
                  <a:lnTo>
                    <a:pt x="361280" y="32955"/>
                  </a:lnTo>
                  <a:lnTo>
                    <a:pt x="341089" y="95209"/>
                  </a:lnTo>
                  <a:lnTo>
                    <a:pt x="333517" y="96430"/>
                  </a:lnTo>
                  <a:lnTo>
                    <a:pt x="315850" y="45162"/>
                  </a:lnTo>
                  <a:lnTo>
                    <a:pt x="303231" y="97651"/>
                  </a:lnTo>
                  <a:lnTo>
                    <a:pt x="294397" y="97651"/>
                  </a:lnTo>
                  <a:lnTo>
                    <a:pt x="269158" y="36617"/>
                  </a:lnTo>
                  <a:lnTo>
                    <a:pt x="277992" y="36617"/>
                  </a:lnTo>
                  <a:lnTo>
                    <a:pt x="298183" y="87885"/>
                  </a:lnTo>
                  <a:lnTo>
                    <a:pt x="310802" y="35397"/>
                  </a:lnTo>
                  <a:lnTo>
                    <a:pt x="319636" y="34176"/>
                  </a:lnTo>
                  <a:lnTo>
                    <a:pt x="337303" y="86665"/>
                  </a:lnTo>
                  <a:close/>
                  <a:moveTo>
                    <a:pt x="519303" y="31980"/>
                  </a:moveTo>
                  <a:cubicBezTo>
                    <a:pt x="515500" y="31980"/>
                    <a:pt x="511697" y="31980"/>
                    <a:pt x="509162" y="33259"/>
                  </a:cubicBezTo>
                  <a:cubicBezTo>
                    <a:pt x="506627" y="34538"/>
                    <a:pt x="502824" y="37097"/>
                    <a:pt x="501556" y="40934"/>
                  </a:cubicBezTo>
                  <a:cubicBezTo>
                    <a:pt x="500289" y="43493"/>
                    <a:pt x="499021" y="46051"/>
                    <a:pt x="497753" y="49889"/>
                  </a:cubicBezTo>
                  <a:cubicBezTo>
                    <a:pt x="497753" y="53726"/>
                    <a:pt x="497753" y="57564"/>
                    <a:pt x="497753" y="61401"/>
                  </a:cubicBezTo>
                  <a:cubicBezTo>
                    <a:pt x="497753" y="65239"/>
                    <a:pt x="497753" y="69077"/>
                    <a:pt x="500289" y="71635"/>
                  </a:cubicBezTo>
                  <a:cubicBezTo>
                    <a:pt x="501556" y="75473"/>
                    <a:pt x="502824" y="76752"/>
                    <a:pt x="505359" y="79310"/>
                  </a:cubicBezTo>
                  <a:cubicBezTo>
                    <a:pt x="507894" y="81869"/>
                    <a:pt x="509162" y="83148"/>
                    <a:pt x="512965" y="84427"/>
                  </a:cubicBezTo>
                  <a:cubicBezTo>
                    <a:pt x="515500" y="85706"/>
                    <a:pt x="518035" y="85706"/>
                    <a:pt x="521838" y="85706"/>
                  </a:cubicBezTo>
                  <a:cubicBezTo>
                    <a:pt x="525641" y="85706"/>
                    <a:pt x="529444" y="84427"/>
                    <a:pt x="530711" y="83148"/>
                  </a:cubicBezTo>
                  <a:cubicBezTo>
                    <a:pt x="534514" y="81869"/>
                    <a:pt x="537049" y="79310"/>
                    <a:pt x="538317" y="76752"/>
                  </a:cubicBezTo>
                  <a:cubicBezTo>
                    <a:pt x="540852" y="74193"/>
                    <a:pt x="542120" y="71635"/>
                    <a:pt x="542120" y="67797"/>
                  </a:cubicBezTo>
                  <a:cubicBezTo>
                    <a:pt x="543387" y="63960"/>
                    <a:pt x="543387" y="61401"/>
                    <a:pt x="543387" y="57564"/>
                  </a:cubicBezTo>
                  <a:cubicBezTo>
                    <a:pt x="543387" y="53726"/>
                    <a:pt x="543387" y="49889"/>
                    <a:pt x="542120" y="47330"/>
                  </a:cubicBezTo>
                  <a:cubicBezTo>
                    <a:pt x="540852" y="43493"/>
                    <a:pt x="538317" y="40934"/>
                    <a:pt x="537049" y="38376"/>
                  </a:cubicBezTo>
                  <a:cubicBezTo>
                    <a:pt x="534514" y="35818"/>
                    <a:pt x="531979" y="34538"/>
                    <a:pt x="529444" y="33259"/>
                  </a:cubicBezTo>
                  <a:cubicBezTo>
                    <a:pt x="525641" y="31980"/>
                    <a:pt x="523106" y="31980"/>
                    <a:pt x="519303" y="31980"/>
                  </a:cubicBezTo>
                  <a:close/>
                  <a:moveTo>
                    <a:pt x="475362" y="27460"/>
                  </a:moveTo>
                  <a:lnTo>
                    <a:pt x="476629" y="34922"/>
                  </a:lnTo>
                  <a:cubicBezTo>
                    <a:pt x="471559" y="34922"/>
                    <a:pt x="467756" y="34922"/>
                    <a:pt x="465221" y="37410"/>
                  </a:cubicBezTo>
                  <a:cubicBezTo>
                    <a:pt x="462686" y="38654"/>
                    <a:pt x="460150" y="41141"/>
                    <a:pt x="458883" y="43628"/>
                  </a:cubicBezTo>
                  <a:cubicBezTo>
                    <a:pt x="456348" y="46116"/>
                    <a:pt x="456348" y="48603"/>
                    <a:pt x="455080" y="51091"/>
                  </a:cubicBezTo>
                  <a:cubicBezTo>
                    <a:pt x="455080" y="54822"/>
                    <a:pt x="455080" y="58553"/>
                    <a:pt x="455080" y="61040"/>
                  </a:cubicBezTo>
                  <a:lnTo>
                    <a:pt x="456348" y="92133"/>
                  </a:lnTo>
                  <a:lnTo>
                    <a:pt x="448742" y="92133"/>
                  </a:lnTo>
                  <a:lnTo>
                    <a:pt x="444939" y="29948"/>
                  </a:lnTo>
                  <a:lnTo>
                    <a:pt x="452545" y="29948"/>
                  </a:lnTo>
                  <a:lnTo>
                    <a:pt x="453812" y="41141"/>
                  </a:lnTo>
                  <a:cubicBezTo>
                    <a:pt x="456348" y="36166"/>
                    <a:pt x="458883" y="32435"/>
                    <a:pt x="462686" y="31191"/>
                  </a:cubicBezTo>
                  <a:cubicBezTo>
                    <a:pt x="465221" y="28704"/>
                    <a:pt x="470291" y="27460"/>
                    <a:pt x="475362" y="27460"/>
                  </a:cubicBezTo>
                  <a:close/>
                  <a:moveTo>
                    <a:pt x="32958" y="27460"/>
                  </a:moveTo>
                  <a:cubicBezTo>
                    <a:pt x="39061" y="27460"/>
                    <a:pt x="43944" y="27460"/>
                    <a:pt x="47606" y="28681"/>
                  </a:cubicBezTo>
                  <a:cubicBezTo>
                    <a:pt x="51268" y="29902"/>
                    <a:pt x="54930" y="31122"/>
                    <a:pt x="57371" y="33564"/>
                  </a:cubicBezTo>
                  <a:cubicBezTo>
                    <a:pt x="59813" y="36005"/>
                    <a:pt x="61033" y="37226"/>
                    <a:pt x="62254" y="40888"/>
                  </a:cubicBezTo>
                  <a:cubicBezTo>
                    <a:pt x="62254" y="43329"/>
                    <a:pt x="63475" y="46991"/>
                    <a:pt x="63475" y="49432"/>
                  </a:cubicBezTo>
                  <a:cubicBezTo>
                    <a:pt x="64695" y="54315"/>
                    <a:pt x="63475" y="59198"/>
                    <a:pt x="61033" y="61639"/>
                  </a:cubicBezTo>
                  <a:cubicBezTo>
                    <a:pt x="59813" y="64081"/>
                    <a:pt x="57371" y="67743"/>
                    <a:pt x="53709" y="68963"/>
                  </a:cubicBezTo>
                  <a:cubicBezTo>
                    <a:pt x="50047" y="71405"/>
                    <a:pt x="46385" y="72625"/>
                    <a:pt x="42723" y="73846"/>
                  </a:cubicBezTo>
                  <a:cubicBezTo>
                    <a:pt x="37841" y="75067"/>
                    <a:pt x="34179" y="75067"/>
                    <a:pt x="30517" y="75067"/>
                  </a:cubicBezTo>
                  <a:lnTo>
                    <a:pt x="10986" y="76287"/>
                  </a:lnTo>
                  <a:lnTo>
                    <a:pt x="12207" y="114129"/>
                  </a:lnTo>
                  <a:lnTo>
                    <a:pt x="3662" y="114129"/>
                  </a:lnTo>
                  <a:lnTo>
                    <a:pt x="0" y="28681"/>
                  </a:lnTo>
                  <a:close/>
                  <a:moveTo>
                    <a:pt x="540852" y="0"/>
                  </a:moveTo>
                  <a:lnTo>
                    <a:pt x="548458" y="0"/>
                  </a:lnTo>
                  <a:lnTo>
                    <a:pt x="553528" y="89544"/>
                  </a:lnTo>
                  <a:lnTo>
                    <a:pt x="545923" y="89544"/>
                  </a:lnTo>
                  <a:lnTo>
                    <a:pt x="544655" y="78031"/>
                  </a:lnTo>
                  <a:cubicBezTo>
                    <a:pt x="543387" y="79310"/>
                    <a:pt x="542120" y="81869"/>
                    <a:pt x="539585" y="83148"/>
                  </a:cubicBezTo>
                  <a:cubicBezTo>
                    <a:pt x="538317" y="85706"/>
                    <a:pt x="537049" y="86985"/>
                    <a:pt x="534514" y="88264"/>
                  </a:cubicBezTo>
                  <a:cubicBezTo>
                    <a:pt x="531979" y="89544"/>
                    <a:pt x="529444" y="89544"/>
                    <a:pt x="528176" y="90823"/>
                  </a:cubicBezTo>
                  <a:cubicBezTo>
                    <a:pt x="525641" y="90823"/>
                    <a:pt x="523106" y="92102"/>
                    <a:pt x="521838" y="92102"/>
                  </a:cubicBezTo>
                  <a:cubicBezTo>
                    <a:pt x="515500" y="92102"/>
                    <a:pt x="511697" y="90823"/>
                    <a:pt x="507894" y="89544"/>
                  </a:cubicBezTo>
                  <a:cubicBezTo>
                    <a:pt x="502824" y="88264"/>
                    <a:pt x="500289" y="85706"/>
                    <a:pt x="497753" y="83148"/>
                  </a:cubicBezTo>
                  <a:cubicBezTo>
                    <a:pt x="495218" y="80589"/>
                    <a:pt x="492683" y="76752"/>
                    <a:pt x="491415" y="72914"/>
                  </a:cubicBezTo>
                  <a:cubicBezTo>
                    <a:pt x="490148" y="69077"/>
                    <a:pt x="490148" y="65239"/>
                    <a:pt x="488880" y="60122"/>
                  </a:cubicBezTo>
                  <a:cubicBezTo>
                    <a:pt x="488880" y="55005"/>
                    <a:pt x="490148" y="51168"/>
                    <a:pt x="490148" y="47330"/>
                  </a:cubicBezTo>
                  <a:cubicBezTo>
                    <a:pt x="491415" y="43493"/>
                    <a:pt x="492683" y="39655"/>
                    <a:pt x="495218" y="35818"/>
                  </a:cubicBezTo>
                  <a:cubicBezTo>
                    <a:pt x="497753" y="33259"/>
                    <a:pt x="500289" y="29422"/>
                    <a:pt x="504091" y="28142"/>
                  </a:cubicBezTo>
                  <a:cubicBezTo>
                    <a:pt x="507894" y="25584"/>
                    <a:pt x="512965" y="25584"/>
                    <a:pt x="516768" y="24304"/>
                  </a:cubicBezTo>
                  <a:cubicBezTo>
                    <a:pt x="523106" y="24304"/>
                    <a:pt x="528176" y="25584"/>
                    <a:pt x="530711" y="26863"/>
                  </a:cubicBezTo>
                  <a:cubicBezTo>
                    <a:pt x="535782" y="29422"/>
                    <a:pt x="539585" y="31980"/>
                    <a:pt x="542120" y="3453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4" name="Freeform 161">
              <a:extLst>
                <a:ext uri="{FF2B5EF4-FFF2-40B4-BE49-F238E27FC236}">
                  <a16:creationId xmlns:a16="http://schemas.microsoft.com/office/drawing/2014/main" id="{DF7F5412-E563-0C59-74E0-0E0C47BE6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27873" y="7982982"/>
              <a:ext cx="1591945" cy="74981"/>
            </a:xfrm>
            <a:custGeom>
              <a:avLst/>
              <a:gdLst>
                <a:gd name="T0" fmla="*/ 1133 w 1219"/>
                <a:gd name="T1" fmla="*/ 11 h 58"/>
                <a:gd name="T2" fmla="*/ 1129 w 1219"/>
                <a:gd name="T3" fmla="*/ 7 h 58"/>
                <a:gd name="T4" fmla="*/ 1214 w 1219"/>
                <a:gd name="T5" fmla="*/ 0 h 58"/>
                <a:gd name="T6" fmla="*/ 1218 w 1219"/>
                <a:gd name="T7" fmla="*/ 4 h 58"/>
                <a:gd name="T8" fmla="*/ 1214 w 1219"/>
                <a:gd name="T9" fmla="*/ 7 h 58"/>
                <a:gd name="T10" fmla="*/ 972 w 1219"/>
                <a:gd name="T11" fmla="*/ 18 h 58"/>
                <a:gd name="T12" fmla="*/ 968 w 1219"/>
                <a:gd name="T13" fmla="*/ 13 h 58"/>
                <a:gd name="T14" fmla="*/ 972 w 1219"/>
                <a:gd name="T15" fmla="*/ 9 h 58"/>
                <a:gd name="T16" fmla="*/ 1052 w 1219"/>
                <a:gd name="T17" fmla="*/ 6 h 58"/>
                <a:gd name="T18" fmla="*/ 1057 w 1219"/>
                <a:gd name="T19" fmla="*/ 10 h 58"/>
                <a:gd name="T20" fmla="*/ 972 w 1219"/>
                <a:gd name="T21" fmla="*/ 18 h 58"/>
                <a:gd name="T22" fmla="*/ 810 w 1219"/>
                <a:gd name="T23" fmla="*/ 24 h 58"/>
                <a:gd name="T24" fmla="*/ 806 w 1219"/>
                <a:gd name="T25" fmla="*/ 20 h 58"/>
                <a:gd name="T26" fmla="*/ 891 w 1219"/>
                <a:gd name="T27" fmla="*/ 13 h 58"/>
                <a:gd name="T28" fmla="*/ 895 w 1219"/>
                <a:gd name="T29" fmla="*/ 17 h 58"/>
                <a:gd name="T30" fmla="*/ 891 w 1219"/>
                <a:gd name="T31" fmla="*/ 21 h 58"/>
                <a:gd name="T32" fmla="*/ 649 w 1219"/>
                <a:gd name="T33" fmla="*/ 31 h 58"/>
                <a:gd name="T34" fmla="*/ 645 w 1219"/>
                <a:gd name="T35" fmla="*/ 27 h 58"/>
                <a:gd name="T36" fmla="*/ 649 w 1219"/>
                <a:gd name="T37" fmla="*/ 23 h 58"/>
                <a:gd name="T38" fmla="*/ 730 w 1219"/>
                <a:gd name="T39" fmla="*/ 19 h 58"/>
                <a:gd name="T40" fmla="*/ 734 w 1219"/>
                <a:gd name="T41" fmla="*/ 23 h 58"/>
                <a:gd name="T42" fmla="*/ 649 w 1219"/>
                <a:gd name="T43" fmla="*/ 31 h 58"/>
                <a:gd name="T44" fmla="*/ 487 w 1219"/>
                <a:gd name="T45" fmla="*/ 37 h 58"/>
                <a:gd name="T46" fmla="*/ 484 w 1219"/>
                <a:gd name="T47" fmla="*/ 33 h 58"/>
                <a:gd name="T48" fmla="*/ 568 w 1219"/>
                <a:gd name="T49" fmla="*/ 26 h 58"/>
                <a:gd name="T50" fmla="*/ 572 w 1219"/>
                <a:gd name="T51" fmla="*/ 29 h 58"/>
                <a:gd name="T52" fmla="*/ 568 w 1219"/>
                <a:gd name="T53" fmla="*/ 34 h 58"/>
                <a:gd name="T54" fmla="*/ 488 w 1219"/>
                <a:gd name="T55" fmla="*/ 37 h 58"/>
                <a:gd name="T56" fmla="*/ 327 w 1219"/>
                <a:gd name="T57" fmla="*/ 44 h 58"/>
                <a:gd name="T58" fmla="*/ 323 w 1219"/>
                <a:gd name="T59" fmla="*/ 40 h 58"/>
                <a:gd name="T60" fmla="*/ 327 w 1219"/>
                <a:gd name="T61" fmla="*/ 36 h 58"/>
                <a:gd name="T62" fmla="*/ 406 w 1219"/>
                <a:gd name="T63" fmla="*/ 33 h 58"/>
                <a:gd name="T64" fmla="*/ 411 w 1219"/>
                <a:gd name="T65" fmla="*/ 36 h 58"/>
                <a:gd name="T66" fmla="*/ 327 w 1219"/>
                <a:gd name="T67" fmla="*/ 44 h 58"/>
                <a:gd name="T68" fmla="*/ 165 w 1219"/>
                <a:gd name="T69" fmla="*/ 50 h 58"/>
                <a:gd name="T70" fmla="*/ 162 w 1219"/>
                <a:gd name="T71" fmla="*/ 47 h 58"/>
                <a:gd name="T72" fmla="*/ 246 w 1219"/>
                <a:gd name="T73" fmla="*/ 39 h 58"/>
                <a:gd name="T74" fmla="*/ 250 w 1219"/>
                <a:gd name="T75" fmla="*/ 43 h 58"/>
                <a:gd name="T76" fmla="*/ 247 w 1219"/>
                <a:gd name="T77" fmla="*/ 47 h 58"/>
                <a:gd name="T78" fmla="*/ 165 w 1219"/>
                <a:gd name="T79" fmla="*/ 50 h 58"/>
                <a:gd name="T80" fmla="*/ 4 w 1219"/>
                <a:gd name="T81" fmla="*/ 57 h 58"/>
                <a:gd name="T82" fmla="*/ 0 w 1219"/>
                <a:gd name="T83" fmla="*/ 53 h 58"/>
                <a:gd name="T84" fmla="*/ 85 w 1219"/>
                <a:gd name="T85" fmla="*/ 45 h 58"/>
                <a:gd name="T86" fmla="*/ 89 w 1219"/>
                <a:gd name="T87" fmla="*/ 50 h 58"/>
                <a:gd name="T88" fmla="*/ 85 w 1219"/>
                <a:gd name="T89" fmla="*/ 5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9" h="58">
                  <a:moveTo>
                    <a:pt x="1133" y="11"/>
                  </a:moveTo>
                  <a:lnTo>
                    <a:pt x="1133" y="11"/>
                  </a:lnTo>
                  <a:cubicBezTo>
                    <a:pt x="1131" y="11"/>
                    <a:pt x="1129" y="9"/>
                    <a:pt x="1129" y="7"/>
                  </a:cubicBezTo>
                  <a:lnTo>
                    <a:pt x="1129" y="7"/>
                  </a:lnTo>
                  <a:cubicBezTo>
                    <a:pt x="1129" y="5"/>
                    <a:pt x="1131" y="3"/>
                    <a:pt x="1133" y="3"/>
                  </a:cubicBezTo>
                  <a:lnTo>
                    <a:pt x="1214" y="0"/>
                  </a:lnTo>
                  <a:lnTo>
                    <a:pt x="1214" y="0"/>
                  </a:lnTo>
                  <a:cubicBezTo>
                    <a:pt x="1216" y="0"/>
                    <a:pt x="1218" y="1"/>
                    <a:pt x="1218" y="4"/>
                  </a:cubicBezTo>
                  <a:lnTo>
                    <a:pt x="1218" y="4"/>
                  </a:lnTo>
                  <a:cubicBezTo>
                    <a:pt x="1218" y="6"/>
                    <a:pt x="1216" y="7"/>
                    <a:pt x="1214" y="7"/>
                  </a:cubicBezTo>
                  <a:lnTo>
                    <a:pt x="1133" y="11"/>
                  </a:lnTo>
                  <a:close/>
                  <a:moveTo>
                    <a:pt x="972" y="18"/>
                  </a:moveTo>
                  <a:lnTo>
                    <a:pt x="972" y="18"/>
                  </a:lnTo>
                  <a:cubicBezTo>
                    <a:pt x="970" y="18"/>
                    <a:pt x="968" y="16"/>
                    <a:pt x="968" y="13"/>
                  </a:cubicBezTo>
                  <a:lnTo>
                    <a:pt x="968" y="13"/>
                  </a:lnTo>
                  <a:cubicBezTo>
                    <a:pt x="967" y="12"/>
                    <a:pt x="969" y="9"/>
                    <a:pt x="972" y="9"/>
                  </a:cubicBezTo>
                  <a:lnTo>
                    <a:pt x="1052" y="6"/>
                  </a:lnTo>
                  <a:lnTo>
                    <a:pt x="1052" y="6"/>
                  </a:lnTo>
                  <a:cubicBezTo>
                    <a:pt x="1055" y="6"/>
                    <a:pt x="1057" y="8"/>
                    <a:pt x="1057" y="10"/>
                  </a:cubicBezTo>
                  <a:lnTo>
                    <a:pt x="1057" y="10"/>
                  </a:lnTo>
                  <a:cubicBezTo>
                    <a:pt x="1057" y="12"/>
                    <a:pt x="1055" y="14"/>
                    <a:pt x="1052" y="14"/>
                  </a:cubicBezTo>
                  <a:lnTo>
                    <a:pt x="972" y="18"/>
                  </a:lnTo>
                  <a:close/>
                  <a:moveTo>
                    <a:pt x="810" y="24"/>
                  </a:moveTo>
                  <a:lnTo>
                    <a:pt x="810" y="24"/>
                  </a:lnTo>
                  <a:cubicBezTo>
                    <a:pt x="808" y="24"/>
                    <a:pt x="806" y="22"/>
                    <a:pt x="806" y="20"/>
                  </a:cubicBezTo>
                  <a:lnTo>
                    <a:pt x="806" y="20"/>
                  </a:lnTo>
                  <a:cubicBezTo>
                    <a:pt x="806" y="18"/>
                    <a:pt x="808" y="16"/>
                    <a:pt x="810" y="16"/>
                  </a:cubicBezTo>
                  <a:lnTo>
                    <a:pt x="891" y="13"/>
                  </a:lnTo>
                  <a:lnTo>
                    <a:pt x="891" y="13"/>
                  </a:lnTo>
                  <a:cubicBezTo>
                    <a:pt x="893" y="13"/>
                    <a:pt x="895" y="14"/>
                    <a:pt x="895" y="17"/>
                  </a:cubicBezTo>
                  <a:lnTo>
                    <a:pt x="895" y="17"/>
                  </a:lnTo>
                  <a:cubicBezTo>
                    <a:pt x="895" y="19"/>
                    <a:pt x="893" y="21"/>
                    <a:pt x="891" y="21"/>
                  </a:cubicBezTo>
                  <a:lnTo>
                    <a:pt x="810" y="24"/>
                  </a:lnTo>
                  <a:close/>
                  <a:moveTo>
                    <a:pt x="649" y="31"/>
                  </a:moveTo>
                  <a:lnTo>
                    <a:pt x="649" y="31"/>
                  </a:lnTo>
                  <a:cubicBezTo>
                    <a:pt x="647" y="31"/>
                    <a:pt x="645" y="29"/>
                    <a:pt x="645" y="27"/>
                  </a:cubicBezTo>
                  <a:lnTo>
                    <a:pt x="645" y="27"/>
                  </a:lnTo>
                  <a:cubicBezTo>
                    <a:pt x="644" y="25"/>
                    <a:pt x="646" y="23"/>
                    <a:pt x="649" y="23"/>
                  </a:cubicBezTo>
                  <a:lnTo>
                    <a:pt x="730" y="19"/>
                  </a:lnTo>
                  <a:lnTo>
                    <a:pt x="730" y="19"/>
                  </a:lnTo>
                  <a:cubicBezTo>
                    <a:pt x="732" y="19"/>
                    <a:pt x="734" y="21"/>
                    <a:pt x="734" y="23"/>
                  </a:cubicBezTo>
                  <a:lnTo>
                    <a:pt x="734" y="23"/>
                  </a:lnTo>
                  <a:cubicBezTo>
                    <a:pt x="734" y="25"/>
                    <a:pt x="732" y="27"/>
                    <a:pt x="730" y="28"/>
                  </a:cubicBezTo>
                  <a:lnTo>
                    <a:pt x="649" y="31"/>
                  </a:lnTo>
                  <a:close/>
                  <a:moveTo>
                    <a:pt x="487" y="37"/>
                  </a:moveTo>
                  <a:lnTo>
                    <a:pt x="487" y="37"/>
                  </a:lnTo>
                  <a:cubicBezTo>
                    <a:pt x="485" y="37"/>
                    <a:pt x="484" y="36"/>
                    <a:pt x="484" y="33"/>
                  </a:cubicBezTo>
                  <a:lnTo>
                    <a:pt x="484" y="33"/>
                  </a:lnTo>
                  <a:cubicBezTo>
                    <a:pt x="483" y="31"/>
                    <a:pt x="485" y="29"/>
                    <a:pt x="487" y="29"/>
                  </a:cubicBezTo>
                  <a:lnTo>
                    <a:pt x="568" y="26"/>
                  </a:lnTo>
                  <a:lnTo>
                    <a:pt x="568" y="26"/>
                  </a:lnTo>
                  <a:cubicBezTo>
                    <a:pt x="570" y="26"/>
                    <a:pt x="572" y="28"/>
                    <a:pt x="572" y="29"/>
                  </a:cubicBezTo>
                  <a:lnTo>
                    <a:pt x="572" y="29"/>
                  </a:lnTo>
                  <a:cubicBezTo>
                    <a:pt x="572" y="32"/>
                    <a:pt x="570" y="34"/>
                    <a:pt x="568" y="34"/>
                  </a:cubicBezTo>
                  <a:lnTo>
                    <a:pt x="488" y="37"/>
                  </a:lnTo>
                  <a:lnTo>
                    <a:pt x="488" y="37"/>
                  </a:lnTo>
                  <a:cubicBezTo>
                    <a:pt x="487" y="37"/>
                    <a:pt x="487" y="37"/>
                    <a:pt x="487" y="37"/>
                  </a:cubicBezTo>
                  <a:close/>
                  <a:moveTo>
                    <a:pt x="327" y="44"/>
                  </a:moveTo>
                  <a:lnTo>
                    <a:pt x="327" y="44"/>
                  </a:lnTo>
                  <a:cubicBezTo>
                    <a:pt x="325" y="44"/>
                    <a:pt x="323" y="42"/>
                    <a:pt x="323" y="40"/>
                  </a:cubicBezTo>
                  <a:lnTo>
                    <a:pt x="323" y="40"/>
                  </a:lnTo>
                  <a:cubicBezTo>
                    <a:pt x="323" y="37"/>
                    <a:pt x="324" y="36"/>
                    <a:pt x="327" y="36"/>
                  </a:cubicBezTo>
                  <a:lnTo>
                    <a:pt x="406" y="33"/>
                  </a:lnTo>
                  <a:lnTo>
                    <a:pt x="406" y="33"/>
                  </a:lnTo>
                  <a:cubicBezTo>
                    <a:pt x="409" y="33"/>
                    <a:pt x="411" y="34"/>
                    <a:pt x="411" y="36"/>
                  </a:cubicBezTo>
                  <a:lnTo>
                    <a:pt x="411" y="36"/>
                  </a:lnTo>
                  <a:cubicBezTo>
                    <a:pt x="411" y="39"/>
                    <a:pt x="409" y="41"/>
                    <a:pt x="407" y="41"/>
                  </a:cubicBezTo>
                  <a:lnTo>
                    <a:pt x="327" y="44"/>
                  </a:lnTo>
                  <a:close/>
                  <a:moveTo>
                    <a:pt x="165" y="50"/>
                  </a:moveTo>
                  <a:lnTo>
                    <a:pt x="165" y="50"/>
                  </a:lnTo>
                  <a:cubicBezTo>
                    <a:pt x="164" y="50"/>
                    <a:pt x="162" y="48"/>
                    <a:pt x="162" y="47"/>
                  </a:cubicBezTo>
                  <a:lnTo>
                    <a:pt x="162" y="47"/>
                  </a:lnTo>
                  <a:cubicBezTo>
                    <a:pt x="162" y="44"/>
                    <a:pt x="163" y="42"/>
                    <a:pt x="165" y="42"/>
                  </a:cubicBezTo>
                  <a:lnTo>
                    <a:pt x="246" y="39"/>
                  </a:lnTo>
                  <a:lnTo>
                    <a:pt x="246" y="39"/>
                  </a:lnTo>
                  <a:cubicBezTo>
                    <a:pt x="249" y="39"/>
                    <a:pt x="250" y="41"/>
                    <a:pt x="250" y="43"/>
                  </a:cubicBezTo>
                  <a:lnTo>
                    <a:pt x="250" y="43"/>
                  </a:lnTo>
                  <a:cubicBezTo>
                    <a:pt x="250" y="45"/>
                    <a:pt x="249" y="47"/>
                    <a:pt x="247" y="47"/>
                  </a:cubicBezTo>
                  <a:lnTo>
                    <a:pt x="166" y="50"/>
                  </a:lnTo>
                  <a:lnTo>
                    <a:pt x="165" y="50"/>
                  </a:lnTo>
                  <a:close/>
                  <a:moveTo>
                    <a:pt x="4" y="57"/>
                  </a:moveTo>
                  <a:lnTo>
                    <a:pt x="4" y="57"/>
                  </a:lnTo>
                  <a:cubicBezTo>
                    <a:pt x="2" y="57"/>
                    <a:pt x="0" y="55"/>
                    <a:pt x="0" y="53"/>
                  </a:cubicBezTo>
                  <a:lnTo>
                    <a:pt x="0" y="53"/>
                  </a:lnTo>
                  <a:cubicBezTo>
                    <a:pt x="0" y="51"/>
                    <a:pt x="2" y="49"/>
                    <a:pt x="4" y="49"/>
                  </a:cubicBezTo>
                  <a:lnTo>
                    <a:pt x="85" y="45"/>
                  </a:lnTo>
                  <a:lnTo>
                    <a:pt x="85" y="45"/>
                  </a:lnTo>
                  <a:cubicBezTo>
                    <a:pt x="87" y="45"/>
                    <a:pt x="89" y="47"/>
                    <a:pt x="89" y="50"/>
                  </a:cubicBezTo>
                  <a:lnTo>
                    <a:pt x="89" y="50"/>
                  </a:lnTo>
                  <a:cubicBezTo>
                    <a:pt x="89" y="52"/>
                    <a:pt x="87" y="53"/>
                    <a:pt x="85" y="53"/>
                  </a:cubicBezTo>
                  <a:lnTo>
                    <a:pt x="4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5" name="Freeform 162">
              <a:extLst>
                <a:ext uri="{FF2B5EF4-FFF2-40B4-BE49-F238E27FC236}">
                  <a16:creationId xmlns:a16="http://schemas.microsoft.com/office/drawing/2014/main" id="{470F286D-8E06-71A6-95A6-F7D01603DF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83677" y="6500621"/>
              <a:ext cx="2209110" cy="1753446"/>
            </a:xfrm>
            <a:custGeom>
              <a:avLst/>
              <a:gdLst>
                <a:gd name="T0" fmla="*/ 1237 w 1688"/>
                <a:gd name="T1" fmla="*/ 869 h 1340"/>
                <a:gd name="T2" fmla="*/ 986 w 1688"/>
                <a:gd name="T3" fmla="*/ 597 h 1340"/>
                <a:gd name="T4" fmla="*/ 1237 w 1688"/>
                <a:gd name="T5" fmla="*/ 324 h 1340"/>
                <a:gd name="T6" fmla="*/ 1487 w 1688"/>
                <a:gd name="T7" fmla="*/ 597 h 1340"/>
                <a:gd name="T8" fmla="*/ 870 w 1688"/>
                <a:gd name="T9" fmla="*/ 987 h 1340"/>
                <a:gd name="T10" fmla="*/ 740 w 1688"/>
                <a:gd name="T11" fmla="*/ 987 h 1340"/>
                <a:gd name="T12" fmla="*/ 722 w 1688"/>
                <a:gd name="T13" fmla="*/ 938 h 1340"/>
                <a:gd name="T14" fmla="*/ 805 w 1688"/>
                <a:gd name="T15" fmla="*/ 809 h 1340"/>
                <a:gd name="T16" fmla="*/ 889 w 1688"/>
                <a:gd name="T17" fmla="*/ 938 h 1340"/>
                <a:gd name="T18" fmla="*/ 424 w 1688"/>
                <a:gd name="T19" fmla="*/ 869 h 1340"/>
                <a:gd name="T20" fmla="*/ 174 w 1688"/>
                <a:gd name="T21" fmla="*/ 597 h 1340"/>
                <a:gd name="T22" fmla="*/ 424 w 1688"/>
                <a:gd name="T23" fmla="*/ 324 h 1340"/>
                <a:gd name="T24" fmla="*/ 673 w 1688"/>
                <a:gd name="T25" fmla="*/ 597 h 1340"/>
                <a:gd name="T26" fmla="*/ 424 w 1688"/>
                <a:gd name="T27" fmla="*/ 869 h 1340"/>
                <a:gd name="T28" fmla="*/ 870 w 1688"/>
                <a:gd name="T29" fmla="*/ 0 h 1340"/>
                <a:gd name="T30" fmla="*/ 10 w 1688"/>
                <a:gd name="T31" fmla="*/ 598 h 1340"/>
                <a:gd name="T32" fmla="*/ 392 w 1688"/>
                <a:gd name="T33" fmla="*/ 1133 h 1340"/>
                <a:gd name="T34" fmla="*/ 510 w 1688"/>
                <a:gd name="T35" fmla="*/ 1339 h 1340"/>
                <a:gd name="T36" fmla="*/ 570 w 1688"/>
                <a:gd name="T37" fmla="*/ 1166 h 1340"/>
                <a:gd name="T38" fmla="*/ 574 w 1688"/>
                <a:gd name="T39" fmla="*/ 1158 h 1340"/>
                <a:gd name="T40" fmla="*/ 581 w 1688"/>
                <a:gd name="T41" fmla="*/ 1169 h 1340"/>
                <a:gd name="T42" fmla="*/ 708 w 1688"/>
                <a:gd name="T43" fmla="*/ 1339 h 1340"/>
                <a:gd name="T44" fmla="*/ 722 w 1688"/>
                <a:gd name="T45" fmla="*/ 1166 h 1340"/>
                <a:gd name="T46" fmla="*/ 727 w 1688"/>
                <a:gd name="T47" fmla="*/ 1158 h 1340"/>
                <a:gd name="T48" fmla="*/ 720 w 1688"/>
                <a:gd name="T49" fmla="*/ 1339 h 1340"/>
                <a:gd name="T50" fmla="*/ 875 w 1688"/>
                <a:gd name="T51" fmla="*/ 1166 h 1340"/>
                <a:gd name="T52" fmla="*/ 880 w 1688"/>
                <a:gd name="T53" fmla="*/ 1158 h 1340"/>
                <a:gd name="T54" fmla="*/ 886 w 1688"/>
                <a:gd name="T55" fmla="*/ 1169 h 1340"/>
                <a:gd name="T56" fmla="*/ 1014 w 1688"/>
                <a:gd name="T57" fmla="*/ 1339 h 1340"/>
                <a:gd name="T58" fmla="*/ 1027 w 1688"/>
                <a:gd name="T59" fmla="*/ 1166 h 1340"/>
                <a:gd name="T60" fmla="*/ 1032 w 1688"/>
                <a:gd name="T61" fmla="*/ 1158 h 1340"/>
                <a:gd name="T62" fmla="*/ 1025 w 1688"/>
                <a:gd name="T63" fmla="*/ 1339 h 1340"/>
                <a:gd name="T64" fmla="*/ 1049 w 1688"/>
                <a:gd name="T65" fmla="*/ 1339 h 1340"/>
                <a:gd name="T66" fmla="*/ 1188 w 1688"/>
                <a:gd name="T67" fmla="*/ 1133 h 1340"/>
                <a:gd name="T68" fmla="*/ 1672 w 1688"/>
                <a:gd name="T69" fmla="*/ 598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88" h="1340">
                  <a:moveTo>
                    <a:pt x="1237" y="869"/>
                  </a:moveTo>
                  <a:lnTo>
                    <a:pt x="1237" y="869"/>
                  </a:lnTo>
                  <a:cubicBezTo>
                    <a:pt x="1099" y="869"/>
                    <a:pt x="986" y="747"/>
                    <a:pt x="986" y="597"/>
                  </a:cubicBezTo>
                  <a:lnTo>
                    <a:pt x="986" y="597"/>
                  </a:lnTo>
                  <a:cubicBezTo>
                    <a:pt x="986" y="446"/>
                    <a:pt x="1099" y="324"/>
                    <a:pt x="1237" y="324"/>
                  </a:cubicBezTo>
                  <a:lnTo>
                    <a:pt x="1237" y="324"/>
                  </a:lnTo>
                  <a:cubicBezTo>
                    <a:pt x="1375" y="324"/>
                    <a:pt x="1487" y="446"/>
                    <a:pt x="1487" y="597"/>
                  </a:cubicBezTo>
                  <a:lnTo>
                    <a:pt x="1487" y="597"/>
                  </a:lnTo>
                  <a:cubicBezTo>
                    <a:pt x="1487" y="747"/>
                    <a:pt x="1375" y="869"/>
                    <a:pt x="1237" y="869"/>
                  </a:cubicBezTo>
                  <a:close/>
                  <a:moveTo>
                    <a:pt x="870" y="987"/>
                  </a:moveTo>
                  <a:lnTo>
                    <a:pt x="740" y="987"/>
                  </a:lnTo>
                  <a:lnTo>
                    <a:pt x="740" y="987"/>
                  </a:lnTo>
                  <a:cubicBezTo>
                    <a:pt x="724" y="987"/>
                    <a:pt x="714" y="960"/>
                    <a:pt x="722" y="938"/>
                  </a:cubicBezTo>
                  <a:lnTo>
                    <a:pt x="722" y="938"/>
                  </a:lnTo>
                  <a:cubicBezTo>
                    <a:pt x="739" y="886"/>
                    <a:pt x="772" y="809"/>
                    <a:pt x="805" y="809"/>
                  </a:cubicBezTo>
                  <a:lnTo>
                    <a:pt x="805" y="809"/>
                  </a:lnTo>
                  <a:cubicBezTo>
                    <a:pt x="839" y="809"/>
                    <a:pt x="870" y="886"/>
                    <a:pt x="889" y="938"/>
                  </a:cubicBezTo>
                  <a:lnTo>
                    <a:pt x="889" y="938"/>
                  </a:lnTo>
                  <a:cubicBezTo>
                    <a:pt x="896" y="960"/>
                    <a:pt x="886" y="987"/>
                    <a:pt x="870" y="987"/>
                  </a:cubicBezTo>
                  <a:close/>
                  <a:moveTo>
                    <a:pt x="424" y="869"/>
                  </a:moveTo>
                  <a:lnTo>
                    <a:pt x="424" y="869"/>
                  </a:lnTo>
                  <a:cubicBezTo>
                    <a:pt x="286" y="869"/>
                    <a:pt x="174" y="747"/>
                    <a:pt x="174" y="597"/>
                  </a:cubicBezTo>
                  <a:lnTo>
                    <a:pt x="174" y="597"/>
                  </a:lnTo>
                  <a:cubicBezTo>
                    <a:pt x="174" y="446"/>
                    <a:pt x="286" y="324"/>
                    <a:pt x="424" y="324"/>
                  </a:cubicBezTo>
                  <a:lnTo>
                    <a:pt x="424" y="324"/>
                  </a:lnTo>
                  <a:cubicBezTo>
                    <a:pt x="561" y="324"/>
                    <a:pt x="673" y="446"/>
                    <a:pt x="673" y="597"/>
                  </a:cubicBezTo>
                  <a:lnTo>
                    <a:pt x="673" y="597"/>
                  </a:lnTo>
                  <a:cubicBezTo>
                    <a:pt x="673" y="747"/>
                    <a:pt x="561" y="869"/>
                    <a:pt x="424" y="869"/>
                  </a:cubicBezTo>
                  <a:close/>
                  <a:moveTo>
                    <a:pt x="870" y="0"/>
                  </a:moveTo>
                  <a:lnTo>
                    <a:pt x="870" y="0"/>
                  </a:lnTo>
                  <a:cubicBezTo>
                    <a:pt x="412" y="0"/>
                    <a:pt x="26" y="266"/>
                    <a:pt x="10" y="598"/>
                  </a:cubicBezTo>
                  <a:lnTo>
                    <a:pt x="10" y="598"/>
                  </a:lnTo>
                  <a:cubicBezTo>
                    <a:pt x="0" y="817"/>
                    <a:pt x="154" y="1009"/>
                    <a:pt x="393" y="1113"/>
                  </a:cubicBezTo>
                  <a:lnTo>
                    <a:pt x="392" y="1133"/>
                  </a:lnTo>
                  <a:lnTo>
                    <a:pt x="392" y="1133"/>
                  </a:lnTo>
                  <a:cubicBezTo>
                    <a:pt x="386" y="1246"/>
                    <a:pt x="440" y="1339"/>
                    <a:pt x="510" y="1339"/>
                  </a:cubicBezTo>
                  <a:lnTo>
                    <a:pt x="555" y="1339"/>
                  </a:lnTo>
                  <a:lnTo>
                    <a:pt x="570" y="1166"/>
                  </a:lnTo>
                  <a:lnTo>
                    <a:pt x="570" y="1166"/>
                  </a:lnTo>
                  <a:cubicBezTo>
                    <a:pt x="570" y="1162"/>
                    <a:pt x="572" y="1159"/>
                    <a:pt x="574" y="1158"/>
                  </a:cubicBezTo>
                  <a:lnTo>
                    <a:pt x="574" y="1158"/>
                  </a:lnTo>
                  <a:cubicBezTo>
                    <a:pt x="578" y="1157"/>
                    <a:pt x="582" y="1162"/>
                    <a:pt x="581" y="1169"/>
                  </a:cubicBezTo>
                  <a:lnTo>
                    <a:pt x="567" y="1339"/>
                  </a:lnTo>
                  <a:lnTo>
                    <a:pt x="708" y="1339"/>
                  </a:lnTo>
                  <a:lnTo>
                    <a:pt x="722" y="1166"/>
                  </a:lnTo>
                  <a:lnTo>
                    <a:pt x="722" y="1166"/>
                  </a:lnTo>
                  <a:cubicBezTo>
                    <a:pt x="723" y="1162"/>
                    <a:pt x="724" y="1159"/>
                    <a:pt x="727" y="1158"/>
                  </a:cubicBezTo>
                  <a:lnTo>
                    <a:pt x="727" y="1158"/>
                  </a:lnTo>
                  <a:cubicBezTo>
                    <a:pt x="731" y="1157"/>
                    <a:pt x="734" y="1162"/>
                    <a:pt x="733" y="1169"/>
                  </a:cubicBezTo>
                  <a:lnTo>
                    <a:pt x="720" y="1339"/>
                  </a:lnTo>
                  <a:lnTo>
                    <a:pt x="861" y="1339"/>
                  </a:lnTo>
                  <a:lnTo>
                    <a:pt x="875" y="1166"/>
                  </a:lnTo>
                  <a:lnTo>
                    <a:pt x="875" y="1166"/>
                  </a:lnTo>
                  <a:cubicBezTo>
                    <a:pt x="875" y="1162"/>
                    <a:pt x="877" y="1159"/>
                    <a:pt x="880" y="1158"/>
                  </a:cubicBezTo>
                  <a:lnTo>
                    <a:pt x="880" y="1158"/>
                  </a:lnTo>
                  <a:cubicBezTo>
                    <a:pt x="883" y="1157"/>
                    <a:pt x="887" y="1162"/>
                    <a:pt x="886" y="1169"/>
                  </a:cubicBezTo>
                  <a:lnTo>
                    <a:pt x="872" y="1339"/>
                  </a:lnTo>
                  <a:lnTo>
                    <a:pt x="1014" y="1339"/>
                  </a:lnTo>
                  <a:lnTo>
                    <a:pt x="1027" y="1166"/>
                  </a:lnTo>
                  <a:lnTo>
                    <a:pt x="1027" y="1166"/>
                  </a:lnTo>
                  <a:cubicBezTo>
                    <a:pt x="1028" y="1162"/>
                    <a:pt x="1030" y="1159"/>
                    <a:pt x="1032" y="1158"/>
                  </a:cubicBezTo>
                  <a:lnTo>
                    <a:pt x="1032" y="1158"/>
                  </a:lnTo>
                  <a:cubicBezTo>
                    <a:pt x="1036" y="1157"/>
                    <a:pt x="1040" y="1162"/>
                    <a:pt x="1039" y="1169"/>
                  </a:cubicBezTo>
                  <a:lnTo>
                    <a:pt x="1025" y="1339"/>
                  </a:lnTo>
                  <a:lnTo>
                    <a:pt x="1049" y="1339"/>
                  </a:lnTo>
                  <a:lnTo>
                    <a:pt x="1049" y="1339"/>
                  </a:lnTo>
                  <a:cubicBezTo>
                    <a:pt x="1120" y="1339"/>
                    <a:pt x="1182" y="1246"/>
                    <a:pt x="1188" y="1133"/>
                  </a:cubicBezTo>
                  <a:lnTo>
                    <a:pt x="1188" y="1133"/>
                  </a:lnTo>
                  <a:cubicBezTo>
                    <a:pt x="1464" y="1035"/>
                    <a:pt x="1660" y="832"/>
                    <a:pt x="1672" y="598"/>
                  </a:cubicBezTo>
                  <a:lnTo>
                    <a:pt x="1672" y="598"/>
                  </a:lnTo>
                  <a:cubicBezTo>
                    <a:pt x="1687" y="266"/>
                    <a:pt x="1329" y="0"/>
                    <a:pt x="870" y="0"/>
                  </a:cubicBezTo>
                  <a:close/>
                </a:path>
              </a:pathLst>
            </a:custGeom>
            <a:solidFill>
              <a:srgbClr val="FD4E4C">
                <a:alpha val="5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6" name="Freeform 163">
              <a:extLst>
                <a:ext uri="{FF2B5EF4-FFF2-40B4-BE49-F238E27FC236}">
                  <a16:creationId xmlns:a16="http://schemas.microsoft.com/office/drawing/2014/main" id="{528C6D64-83A3-5164-FF32-CF37ACEC6E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77908" y="7982982"/>
              <a:ext cx="2099521" cy="1205491"/>
            </a:xfrm>
            <a:custGeom>
              <a:avLst/>
              <a:gdLst>
                <a:gd name="T0" fmla="*/ 1591 w 1607"/>
                <a:gd name="T1" fmla="*/ 579 h 921"/>
                <a:gd name="T2" fmla="*/ 1591 w 1607"/>
                <a:gd name="T3" fmla="*/ 579 h 921"/>
                <a:gd name="T4" fmla="*/ 1452 w 1607"/>
                <a:gd name="T5" fmla="*/ 543 h 921"/>
                <a:gd name="T6" fmla="*/ 1452 w 1607"/>
                <a:gd name="T7" fmla="*/ 543 h 921"/>
                <a:gd name="T8" fmla="*/ 1383 w 1607"/>
                <a:gd name="T9" fmla="*/ 605 h 921"/>
                <a:gd name="T10" fmla="*/ 259 w 1607"/>
                <a:gd name="T11" fmla="*/ 220 h 921"/>
                <a:gd name="T12" fmla="*/ 259 w 1607"/>
                <a:gd name="T13" fmla="*/ 220 h 921"/>
                <a:gd name="T14" fmla="*/ 248 w 1607"/>
                <a:gd name="T15" fmla="*/ 115 h 921"/>
                <a:gd name="T16" fmla="*/ 248 w 1607"/>
                <a:gd name="T17" fmla="*/ 115 h 921"/>
                <a:gd name="T18" fmla="*/ 131 w 1607"/>
                <a:gd name="T19" fmla="*/ 19 h 921"/>
                <a:gd name="T20" fmla="*/ 131 w 1607"/>
                <a:gd name="T21" fmla="*/ 19 h 921"/>
                <a:gd name="T22" fmla="*/ 106 w 1607"/>
                <a:gd name="T23" fmla="*/ 185 h 921"/>
                <a:gd name="T24" fmla="*/ 106 w 1607"/>
                <a:gd name="T25" fmla="*/ 185 h 921"/>
                <a:gd name="T26" fmla="*/ 112 w 1607"/>
                <a:gd name="T27" fmla="*/ 200 h 921"/>
                <a:gd name="T28" fmla="*/ 112 w 1607"/>
                <a:gd name="T29" fmla="*/ 200 h 921"/>
                <a:gd name="T30" fmla="*/ 95 w 1607"/>
                <a:gd name="T31" fmla="*/ 206 h 921"/>
                <a:gd name="T32" fmla="*/ 95 w 1607"/>
                <a:gd name="T33" fmla="*/ 206 h 921"/>
                <a:gd name="T34" fmla="*/ 16 w 1607"/>
                <a:gd name="T35" fmla="*/ 346 h 921"/>
                <a:gd name="T36" fmla="*/ 16 w 1607"/>
                <a:gd name="T37" fmla="*/ 346 h 921"/>
                <a:gd name="T38" fmla="*/ 154 w 1607"/>
                <a:gd name="T39" fmla="*/ 378 h 921"/>
                <a:gd name="T40" fmla="*/ 154 w 1607"/>
                <a:gd name="T41" fmla="*/ 378 h 921"/>
                <a:gd name="T42" fmla="*/ 221 w 1607"/>
                <a:gd name="T43" fmla="*/ 319 h 921"/>
                <a:gd name="T44" fmla="*/ 1345 w 1607"/>
                <a:gd name="T45" fmla="*/ 703 h 921"/>
                <a:gd name="T46" fmla="*/ 1345 w 1607"/>
                <a:gd name="T47" fmla="*/ 703 h 921"/>
                <a:gd name="T48" fmla="*/ 1355 w 1607"/>
                <a:gd name="T49" fmla="*/ 804 h 921"/>
                <a:gd name="T50" fmla="*/ 1355 w 1607"/>
                <a:gd name="T51" fmla="*/ 804 h 921"/>
                <a:gd name="T52" fmla="*/ 1470 w 1607"/>
                <a:gd name="T53" fmla="*/ 902 h 921"/>
                <a:gd name="T54" fmla="*/ 1470 w 1607"/>
                <a:gd name="T55" fmla="*/ 902 h 921"/>
                <a:gd name="T56" fmla="*/ 1498 w 1607"/>
                <a:gd name="T57" fmla="*/ 737 h 921"/>
                <a:gd name="T58" fmla="*/ 1498 w 1607"/>
                <a:gd name="T59" fmla="*/ 737 h 921"/>
                <a:gd name="T60" fmla="*/ 1493 w 1607"/>
                <a:gd name="T61" fmla="*/ 723 h 921"/>
                <a:gd name="T62" fmla="*/ 1493 w 1607"/>
                <a:gd name="T63" fmla="*/ 723 h 921"/>
                <a:gd name="T64" fmla="*/ 1509 w 1607"/>
                <a:gd name="T65" fmla="*/ 716 h 921"/>
                <a:gd name="T66" fmla="*/ 1509 w 1607"/>
                <a:gd name="T67" fmla="*/ 716 h 921"/>
                <a:gd name="T68" fmla="*/ 1591 w 1607"/>
                <a:gd name="T69" fmla="*/ 579 h 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7" h="921">
                  <a:moveTo>
                    <a:pt x="1591" y="579"/>
                  </a:moveTo>
                  <a:lnTo>
                    <a:pt x="1591" y="579"/>
                  </a:lnTo>
                  <a:cubicBezTo>
                    <a:pt x="1575" y="532"/>
                    <a:pt x="1513" y="516"/>
                    <a:pt x="1452" y="543"/>
                  </a:cubicBezTo>
                  <a:lnTo>
                    <a:pt x="1452" y="543"/>
                  </a:lnTo>
                  <a:cubicBezTo>
                    <a:pt x="1422" y="557"/>
                    <a:pt x="1398" y="580"/>
                    <a:pt x="1383" y="605"/>
                  </a:cubicBezTo>
                  <a:lnTo>
                    <a:pt x="259" y="220"/>
                  </a:lnTo>
                  <a:lnTo>
                    <a:pt x="259" y="220"/>
                  </a:lnTo>
                  <a:cubicBezTo>
                    <a:pt x="264" y="190"/>
                    <a:pt x="261" y="152"/>
                    <a:pt x="248" y="115"/>
                  </a:cubicBezTo>
                  <a:lnTo>
                    <a:pt x="248" y="115"/>
                  </a:lnTo>
                  <a:cubicBezTo>
                    <a:pt x="223" y="43"/>
                    <a:pt x="170" y="0"/>
                    <a:pt x="131" y="19"/>
                  </a:cubicBezTo>
                  <a:lnTo>
                    <a:pt x="131" y="19"/>
                  </a:lnTo>
                  <a:cubicBezTo>
                    <a:pt x="92" y="39"/>
                    <a:pt x="80" y="113"/>
                    <a:pt x="106" y="185"/>
                  </a:cubicBezTo>
                  <a:lnTo>
                    <a:pt x="106" y="185"/>
                  </a:lnTo>
                  <a:cubicBezTo>
                    <a:pt x="107" y="190"/>
                    <a:pt x="109" y="195"/>
                    <a:pt x="112" y="200"/>
                  </a:cubicBezTo>
                  <a:lnTo>
                    <a:pt x="112" y="200"/>
                  </a:lnTo>
                  <a:cubicBezTo>
                    <a:pt x="106" y="201"/>
                    <a:pt x="101" y="204"/>
                    <a:pt x="95" y="206"/>
                  </a:cubicBezTo>
                  <a:lnTo>
                    <a:pt x="95" y="206"/>
                  </a:lnTo>
                  <a:cubicBezTo>
                    <a:pt x="35" y="236"/>
                    <a:pt x="0" y="299"/>
                    <a:pt x="16" y="346"/>
                  </a:cubicBezTo>
                  <a:lnTo>
                    <a:pt x="16" y="346"/>
                  </a:lnTo>
                  <a:cubicBezTo>
                    <a:pt x="33" y="393"/>
                    <a:pt x="95" y="407"/>
                    <a:pt x="154" y="378"/>
                  </a:cubicBezTo>
                  <a:lnTo>
                    <a:pt x="154" y="378"/>
                  </a:lnTo>
                  <a:cubicBezTo>
                    <a:pt x="183" y="363"/>
                    <a:pt x="206" y="342"/>
                    <a:pt x="221" y="319"/>
                  </a:cubicBezTo>
                  <a:lnTo>
                    <a:pt x="1345" y="703"/>
                  </a:lnTo>
                  <a:lnTo>
                    <a:pt x="1345" y="703"/>
                  </a:lnTo>
                  <a:cubicBezTo>
                    <a:pt x="1340" y="732"/>
                    <a:pt x="1343" y="768"/>
                    <a:pt x="1355" y="804"/>
                  </a:cubicBezTo>
                  <a:lnTo>
                    <a:pt x="1355" y="804"/>
                  </a:lnTo>
                  <a:cubicBezTo>
                    <a:pt x="1378" y="877"/>
                    <a:pt x="1430" y="920"/>
                    <a:pt x="1470" y="902"/>
                  </a:cubicBezTo>
                  <a:lnTo>
                    <a:pt x="1470" y="902"/>
                  </a:lnTo>
                  <a:cubicBezTo>
                    <a:pt x="1509" y="884"/>
                    <a:pt x="1522" y="810"/>
                    <a:pt x="1498" y="737"/>
                  </a:cubicBezTo>
                  <a:lnTo>
                    <a:pt x="1498" y="737"/>
                  </a:lnTo>
                  <a:cubicBezTo>
                    <a:pt x="1496" y="732"/>
                    <a:pt x="1495" y="727"/>
                    <a:pt x="1493" y="723"/>
                  </a:cubicBezTo>
                  <a:lnTo>
                    <a:pt x="1493" y="723"/>
                  </a:lnTo>
                  <a:cubicBezTo>
                    <a:pt x="1498" y="720"/>
                    <a:pt x="1504" y="719"/>
                    <a:pt x="1509" y="716"/>
                  </a:cubicBezTo>
                  <a:lnTo>
                    <a:pt x="1509" y="716"/>
                  </a:lnTo>
                  <a:cubicBezTo>
                    <a:pt x="1570" y="688"/>
                    <a:pt x="1606" y="627"/>
                    <a:pt x="1591" y="579"/>
                  </a:cubicBezTo>
                </a:path>
              </a:pathLst>
            </a:custGeom>
            <a:solidFill>
              <a:srgbClr val="FD4E4C">
                <a:alpha val="5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7" name="Freeform 164">
              <a:extLst>
                <a:ext uri="{FF2B5EF4-FFF2-40B4-BE49-F238E27FC236}">
                  <a16:creationId xmlns:a16="http://schemas.microsoft.com/office/drawing/2014/main" id="{5EB557DE-A0A3-25D2-9B26-3247734743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66376" y="8063731"/>
              <a:ext cx="2116826" cy="1049760"/>
            </a:xfrm>
            <a:custGeom>
              <a:avLst/>
              <a:gdLst>
                <a:gd name="T0" fmla="*/ 17 w 1620"/>
                <a:gd name="T1" fmla="*/ 446 h 803"/>
                <a:gd name="T2" fmla="*/ 17 w 1620"/>
                <a:gd name="T3" fmla="*/ 446 h 803"/>
                <a:gd name="T4" fmla="*/ 157 w 1620"/>
                <a:gd name="T5" fmla="*/ 423 h 803"/>
                <a:gd name="T6" fmla="*/ 157 w 1620"/>
                <a:gd name="T7" fmla="*/ 423 h 803"/>
                <a:gd name="T8" fmla="*/ 223 w 1620"/>
                <a:gd name="T9" fmla="*/ 491 h 803"/>
                <a:gd name="T10" fmla="*/ 1364 w 1620"/>
                <a:gd name="T11" fmla="*/ 212 h 803"/>
                <a:gd name="T12" fmla="*/ 1364 w 1620"/>
                <a:gd name="T13" fmla="*/ 212 h 803"/>
                <a:gd name="T14" fmla="*/ 1380 w 1620"/>
                <a:gd name="T15" fmla="*/ 107 h 803"/>
                <a:gd name="T16" fmla="*/ 1380 w 1620"/>
                <a:gd name="T17" fmla="*/ 107 h 803"/>
                <a:gd name="T18" fmla="*/ 1501 w 1620"/>
                <a:gd name="T19" fmla="*/ 23 h 803"/>
                <a:gd name="T20" fmla="*/ 1501 w 1620"/>
                <a:gd name="T21" fmla="*/ 23 h 803"/>
                <a:gd name="T22" fmla="*/ 1518 w 1620"/>
                <a:gd name="T23" fmla="*/ 190 h 803"/>
                <a:gd name="T24" fmla="*/ 1518 w 1620"/>
                <a:gd name="T25" fmla="*/ 190 h 803"/>
                <a:gd name="T26" fmla="*/ 1512 w 1620"/>
                <a:gd name="T27" fmla="*/ 204 h 803"/>
                <a:gd name="T28" fmla="*/ 1512 w 1620"/>
                <a:gd name="T29" fmla="*/ 204 h 803"/>
                <a:gd name="T30" fmla="*/ 1528 w 1620"/>
                <a:gd name="T31" fmla="*/ 213 h 803"/>
                <a:gd name="T32" fmla="*/ 1528 w 1620"/>
                <a:gd name="T33" fmla="*/ 213 h 803"/>
                <a:gd name="T34" fmla="*/ 1600 w 1620"/>
                <a:gd name="T35" fmla="*/ 359 h 803"/>
                <a:gd name="T36" fmla="*/ 1600 w 1620"/>
                <a:gd name="T37" fmla="*/ 359 h 803"/>
                <a:gd name="T38" fmla="*/ 1460 w 1620"/>
                <a:gd name="T39" fmla="*/ 378 h 803"/>
                <a:gd name="T40" fmla="*/ 1460 w 1620"/>
                <a:gd name="T41" fmla="*/ 378 h 803"/>
                <a:gd name="T42" fmla="*/ 1398 w 1620"/>
                <a:gd name="T43" fmla="*/ 313 h 803"/>
                <a:gd name="T44" fmla="*/ 256 w 1620"/>
                <a:gd name="T45" fmla="*/ 592 h 803"/>
                <a:gd name="T46" fmla="*/ 256 w 1620"/>
                <a:gd name="T47" fmla="*/ 592 h 803"/>
                <a:gd name="T48" fmla="*/ 242 w 1620"/>
                <a:gd name="T49" fmla="*/ 692 h 803"/>
                <a:gd name="T50" fmla="*/ 242 w 1620"/>
                <a:gd name="T51" fmla="*/ 692 h 803"/>
                <a:gd name="T52" fmla="*/ 122 w 1620"/>
                <a:gd name="T53" fmla="*/ 780 h 803"/>
                <a:gd name="T54" fmla="*/ 122 w 1620"/>
                <a:gd name="T55" fmla="*/ 780 h 803"/>
                <a:gd name="T56" fmla="*/ 102 w 1620"/>
                <a:gd name="T57" fmla="*/ 612 h 803"/>
                <a:gd name="T58" fmla="*/ 102 w 1620"/>
                <a:gd name="T59" fmla="*/ 612 h 803"/>
                <a:gd name="T60" fmla="*/ 108 w 1620"/>
                <a:gd name="T61" fmla="*/ 598 h 803"/>
                <a:gd name="T62" fmla="*/ 108 w 1620"/>
                <a:gd name="T63" fmla="*/ 598 h 803"/>
                <a:gd name="T64" fmla="*/ 91 w 1620"/>
                <a:gd name="T65" fmla="*/ 590 h 803"/>
                <a:gd name="T66" fmla="*/ 91 w 1620"/>
                <a:gd name="T67" fmla="*/ 590 h 803"/>
                <a:gd name="T68" fmla="*/ 17 w 1620"/>
                <a:gd name="T69" fmla="*/ 446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0" h="803">
                  <a:moveTo>
                    <a:pt x="17" y="446"/>
                  </a:moveTo>
                  <a:lnTo>
                    <a:pt x="17" y="446"/>
                  </a:lnTo>
                  <a:cubicBezTo>
                    <a:pt x="36" y="400"/>
                    <a:pt x="98" y="390"/>
                    <a:pt x="157" y="423"/>
                  </a:cubicBezTo>
                  <a:lnTo>
                    <a:pt x="157" y="423"/>
                  </a:lnTo>
                  <a:cubicBezTo>
                    <a:pt x="186" y="440"/>
                    <a:pt x="209" y="465"/>
                    <a:pt x="223" y="491"/>
                  </a:cubicBezTo>
                  <a:lnTo>
                    <a:pt x="1364" y="212"/>
                  </a:lnTo>
                  <a:lnTo>
                    <a:pt x="1364" y="212"/>
                  </a:lnTo>
                  <a:cubicBezTo>
                    <a:pt x="1360" y="181"/>
                    <a:pt x="1365" y="143"/>
                    <a:pt x="1380" y="107"/>
                  </a:cubicBezTo>
                  <a:lnTo>
                    <a:pt x="1380" y="107"/>
                  </a:lnTo>
                  <a:cubicBezTo>
                    <a:pt x="1409" y="37"/>
                    <a:pt x="1463" y="0"/>
                    <a:pt x="1501" y="23"/>
                  </a:cubicBezTo>
                  <a:lnTo>
                    <a:pt x="1501" y="23"/>
                  </a:lnTo>
                  <a:cubicBezTo>
                    <a:pt x="1540" y="46"/>
                    <a:pt x="1547" y="120"/>
                    <a:pt x="1518" y="190"/>
                  </a:cubicBezTo>
                  <a:lnTo>
                    <a:pt x="1518" y="190"/>
                  </a:lnTo>
                  <a:cubicBezTo>
                    <a:pt x="1516" y="195"/>
                    <a:pt x="1515" y="200"/>
                    <a:pt x="1512" y="204"/>
                  </a:cubicBezTo>
                  <a:lnTo>
                    <a:pt x="1512" y="204"/>
                  </a:lnTo>
                  <a:cubicBezTo>
                    <a:pt x="1518" y="207"/>
                    <a:pt x="1523" y="210"/>
                    <a:pt x="1528" y="213"/>
                  </a:cubicBezTo>
                  <a:lnTo>
                    <a:pt x="1528" y="213"/>
                  </a:lnTo>
                  <a:cubicBezTo>
                    <a:pt x="1587" y="248"/>
                    <a:pt x="1619" y="313"/>
                    <a:pt x="1600" y="359"/>
                  </a:cubicBezTo>
                  <a:lnTo>
                    <a:pt x="1600" y="359"/>
                  </a:lnTo>
                  <a:cubicBezTo>
                    <a:pt x="1580" y="404"/>
                    <a:pt x="1518" y="413"/>
                    <a:pt x="1460" y="378"/>
                  </a:cubicBezTo>
                  <a:lnTo>
                    <a:pt x="1460" y="378"/>
                  </a:lnTo>
                  <a:cubicBezTo>
                    <a:pt x="1433" y="361"/>
                    <a:pt x="1411" y="338"/>
                    <a:pt x="1398" y="313"/>
                  </a:cubicBezTo>
                  <a:lnTo>
                    <a:pt x="256" y="592"/>
                  </a:lnTo>
                  <a:lnTo>
                    <a:pt x="256" y="592"/>
                  </a:lnTo>
                  <a:cubicBezTo>
                    <a:pt x="260" y="622"/>
                    <a:pt x="255" y="658"/>
                    <a:pt x="242" y="692"/>
                  </a:cubicBezTo>
                  <a:lnTo>
                    <a:pt x="242" y="692"/>
                  </a:lnTo>
                  <a:cubicBezTo>
                    <a:pt x="214" y="763"/>
                    <a:pt x="160" y="802"/>
                    <a:pt x="122" y="780"/>
                  </a:cubicBezTo>
                  <a:lnTo>
                    <a:pt x="122" y="780"/>
                  </a:lnTo>
                  <a:cubicBezTo>
                    <a:pt x="83" y="758"/>
                    <a:pt x="74" y="682"/>
                    <a:pt x="102" y="612"/>
                  </a:cubicBezTo>
                  <a:lnTo>
                    <a:pt x="102" y="612"/>
                  </a:lnTo>
                  <a:cubicBezTo>
                    <a:pt x="104" y="607"/>
                    <a:pt x="106" y="603"/>
                    <a:pt x="108" y="598"/>
                  </a:cubicBezTo>
                  <a:lnTo>
                    <a:pt x="108" y="598"/>
                  </a:lnTo>
                  <a:cubicBezTo>
                    <a:pt x="102" y="596"/>
                    <a:pt x="97" y="593"/>
                    <a:pt x="91" y="590"/>
                  </a:cubicBezTo>
                  <a:lnTo>
                    <a:pt x="91" y="590"/>
                  </a:lnTo>
                  <a:cubicBezTo>
                    <a:pt x="33" y="556"/>
                    <a:pt x="0" y="492"/>
                    <a:pt x="17" y="446"/>
                  </a:cubicBezTo>
                </a:path>
              </a:pathLst>
            </a:custGeom>
            <a:solidFill>
              <a:srgbClr val="FD4E4C">
                <a:alpha val="5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8" name="Freeform 165">
              <a:extLst>
                <a:ext uri="{FF2B5EF4-FFF2-40B4-BE49-F238E27FC236}">
                  <a16:creationId xmlns:a16="http://schemas.microsoft.com/office/drawing/2014/main" id="{17E30E84-FD72-A1A8-D205-280B4F36CC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52687" y="6656357"/>
              <a:ext cx="63444" cy="184573"/>
            </a:xfrm>
            <a:custGeom>
              <a:avLst/>
              <a:gdLst>
                <a:gd name="T0" fmla="*/ 21 w 49"/>
                <a:gd name="T1" fmla="*/ 69 h 139"/>
                <a:gd name="T2" fmla="*/ 21 w 49"/>
                <a:gd name="T3" fmla="*/ 69 h 139"/>
                <a:gd name="T4" fmla="*/ 48 w 49"/>
                <a:gd name="T5" fmla="*/ 2 h 139"/>
                <a:gd name="T6" fmla="*/ 48 w 49"/>
                <a:gd name="T7" fmla="*/ 2 h 139"/>
                <a:gd name="T8" fmla="*/ 38 w 49"/>
                <a:gd name="T9" fmla="*/ 0 h 139"/>
                <a:gd name="T10" fmla="*/ 38 w 49"/>
                <a:gd name="T11" fmla="*/ 0 h 139"/>
                <a:gd name="T12" fmla="*/ 0 w 49"/>
                <a:gd name="T13" fmla="*/ 69 h 139"/>
                <a:gd name="T14" fmla="*/ 0 w 49"/>
                <a:gd name="T15" fmla="*/ 69 h 139"/>
                <a:gd name="T16" fmla="*/ 38 w 49"/>
                <a:gd name="T17" fmla="*/ 138 h 139"/>
                <a:gd name="T18" fmla="*/ 38 w 49"/>
                <a:gd name="T19" fmla="*/ 138 h 139"/>
                <a:gd name="T20" fmla="*/ 48 w 49"/>
                <a:gd name="T21" fmla="*/ 135 h 139"/>
                <a:gd name="T22" fmla="*/ 48 w 49"/>
                <a:gd name="T23" fmla="*/ 135 h 139"/>
                <a:gd name="T24" fmla="*/ 21 w 49"/>
                <a:gd name="T25" fmla="*/ 6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139">
                  <a:moveTo>
                    <a:pt x="21" y="69"/>
                  </a:moveTo>
                  <a:lnTo>
                    <a:pt x="21" y="69"/>
                  </a:lnTo>
                  <a:cubicBezTo>
                    <a:pt x="21" y="37"/>
                    <a:pt x="32" y="11"/>
                    <a:pt x="48" y="2"/>
                  </a:cubicBezTo>
                  <a:lnTo>
                    <a:pt x="48" y="2"/>
                  </a:lnTo>
                  <a:cubicBezTo>
                    <a:pt x="45" y="0"/>
                    <a:pt x="41" y="0"/>
                    <a:pt x="38" y="0"/>
                  </a:cubicBezTo>
                  <a:lnTo>
                    <a:pt x="38" y="0"/>
                  </a:lnTo>
                  <a:cubicBezTo>
                    <a:pt x="17" y="0"/>
                    <a:pt x="0" y="31"/>
                    <a:pt x="0" y="69"/>
                  </a:cubicBezTo>
                  <a:lnTo>
                    <a:pt x="0" y="69"/>
                  </a:lnTo>
                  <a:cubicBezTo>
                    <a:pt x="0" y="108"/>
                    <a:pt x="17" y="138"/>
                    <a:pt x="38" y="138"/>
                  </a:cubicBezTo>
                  <a:lnTo>
                    <a:pt x="38" y="138"/>
                  </a:lnTo>
                  <a:cubicBezTo>
                    <a:pt x="41" y="138"/>
                    <a:pt x="45" y="137"/>
                    <a:pt x="48" y="135"/>
                  </a:cubicBezTo>
                  <a:lnTo>
                    <a:pt x="48" y="135"/>
                  </a:lnTo>
                  <a:cubicBezTo>
                    <a:pt x="32" y="127"/>
                    <a:pt x="21" y="101"/>
                    <a:pt x="21" y="69"/>
                  </a:cubicBezTo>
                </a:path>
              </a:pathLst>
            </a:custGeom>
            <a:solidFill>
              <a:srgbClr val="443F9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39" name="Freeform 166">
              <a:extLst>
                <a:ext uri="{FF2B5EF4-FFF2-40B4-BE49-F238E27FC236}">
                  <a16:creationId xmlns:a16="http://schemas.microsoft.com/office/drawing/2014/main" id="{787B052F-E65D-5B82-C6A2-4C34FA7B78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1525" y="6656360"/>
              <a:ext cx="69214" cy="173038"/>
            </a:xfrm>
            <a:custGeom>
              <a:avLst/>
              <a:gdLst>
                <a:gd name="T0" fmla="*/ 54 w 55"/>
                <a:gd name="T1" fmla="*/ 67 h 134"/>
                <a:gd name="T2" fmla="*/ 54 w 55"/>
                <a:gd name="T3" fmla="*/ 67 h 134"/>
                <a:gd name="T4" fmla="*/ 27 w 55"/>
                <a:gd name="T5" fmla="*/ 0 h 134"/>
                <a:gd name="T6" fmla="*/ 27 w 55"/>
                <a:gd name="T7" fmla="*/ 0 h 134"/>
                <a:gd name="T8" fmla="*/ 0 w 55"/>
                <a:gd name="T9" fmla="*/ 67 h 134"/>
                <a:gd name="T10" fmla="*/ 0 w 55"/>
                <a:gd name="T11" fmla="*/ 67 h 134"/>
                <a:gd name="T12" fmla="*/ 27 w 55"/>
                <a:gd name="T13" fmla="*/ 133 h 134"/>
                <a:gd name="T14" fmla="*/ 27 w 55"/>
                <a:gd name="T15" fmla="*/ 133 h 134"/>
                <a:gd name="T16" fmla="*/ 54 w 55"/>
                <a:gd name="T17" fmla="*/ 67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34">
                  <a:moveTo>
                    <a:pt x="54" y="67"/>
                  </a:moveTo>
                  <a:lnTo>
                    <a:pt x="54" y="67"/>
                  </a:lnTo>
                  <a:cubicBezTo>
                    <a:pt x="54" y="35"/>
                    <a:pt x="43" y="9"/>
                    <a:pt x="27" y="0"/>
                  </a:cubicBezTo>
                  <a:lnTo>
                    <a:pt x="27" y="0"/>
                  </a:lnTo>
                  <a:cubicBezTo>
                    <a:pt x="11" y="9"/>
                    <a:pt x="0" y="35"/>
                    <a:pt x="0" y="67"/>
                  </a:cubicBezTo>
                  <a:lnTo>
                    <a:pt x="0" y="67"/>
                  </a:lnTo>
                  <a:cubicBezTo>
                    <a:pt x="0" y="99"/>
                    <a:pt x="11" y="125"/>
                    <a:pt x="27" y="133"/>
                  </a:cubicBezTo>
                  <a:lnTo>
                    <a:pt x="27" y="133"/>
                  </a:lnTo>
                  <a:cubicBezTo>
                    <a:pt x="43" y="125"/>
                    <a:pt x="54" y="99"/>
                    <a:pt x="54" y="67"/>
                  </a:cubicBezTo>
                </a:path>
              </a:pathLst>
            </a:custGeom>
            <a:solidFill>
              <a:srgbClr val="41B9F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0" name="Freeform 167">
              <a:extLst>
                <a:ext uri="{FF2B5EF4-FFF2-40B4-BE49-F238E27FC236}">
                  <a16:creationId xmlns:a16="http://schemas.microsoft.com/office/drawing/2014/main" id="{3464B508-26A2-DC0B-DF6C-E6F00C841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87363" y="5497005"/>
              <a:ext cx="438362" cy="1268941"/>
            </a:xfrm>
            <a:custGeom>
              <a:avLst/>
              <a:gdLst>
                <a:gd name="T0" fmla="*/ 218 w 335"/>
                <a:gd name="T1" fmla="*/ 74 h 970"/>
                <a:gd name="T2" fmla="*/ 218 w 335"/>
                <a:gd name="T3" fmla="*/ 74 h 970"/>
                <a:gd name="T4" fmla="*/ 260 w 335"/>
                <a:gd name="T5" fmla="*/ 32 h 970"/>
                <a:gd name="T6" fmla="*/ 260 w 335"/>
                <a:gd name="T7" fmla="*/ 32 h 970"/>
                <a:gd name="T8" fmla="*/ 302 w 335"/>
                <a:gd name="T9" fmla="*/ 74 h 970"/>
                <a:gd name="T10" fmla="*/ 302 w 335"/>
                <a:gd name="T11" fmla="*/ 74 h 970"/>
                <a:gd name="T12" fmla="*/ 260 w 335"/>
                <a:gd name="T13" fmla="*/ 116 h 970"/>
                <a:gd name="T14" fmla="*/ 260 w 335"/>
                <a:gd name="T15" fmla="*/ 116 h 970"/>
                <a:gd name="T16" fmla="*/ 218 w 335"/>
                <a:gd name="T17" fmla="*/ 74 h 970"/>
                <a:gd name="T18" fmla="*/ 260 w 335"/>
                <a:gd name="T19" fmla="*/ 148 h 970"/>
                <a:gd name="T20" fmla="*/ 260 w 335"/>
                <a:gd name="T21" fmla="*/ 148 h 970"/>
                <a:gd name="T22" fmla="*/ 334 w 335"/>
                <a:gd name="T23" fmla="*/ 74 h 970"/>
                <a:gd name="T24" fmla="*/ 334 w 335"/>
                <a:gd name="T25" fmla="*/ 74 h 970"/>
                <a:gd name="T26" fmla="*/ 260 w 335"/>
                <a:gd name="T27" fmla="*/ 0 h 970"/>
                <a:gd name="T28" fmla="*/ 260 w 335"/>
                <a:gd name="T29" fmla="*/ 0 h 970"/>
                <a:gd name="T30" fmla="*/ 186 w 335"/>
                <a:gd name="T31" fmla="*/ 74 h 970"/>
                <a:gd name="T32" fmla="*/ 186 w 335"/>
                <a:gd name="T33" fmla="*/ 74 h 970"/>
                <a:gd name="T34" fmla="*/ 217 w 335"/>
                <a:gd name="T35" fmla="*/ 134 h 970"/>
                <a:gd name="T36" fmla="*/ 217 w 335"/>
                <a:gd name="T37" fmla="*/ 134 h 970"/>
                <a:gd name="T38" fmla="*/ 104 w 335"/>
                <a:gd name="T39" fmla="*/ 379 h 970"/>
                <a:gd name="T40" fmla="*/ 104 w 335"/>
                <a:gd name="T41" fmla="*/ 379 h 970"/>
                <a:gd name="T42" fmla="*/ 68 w 335"/>
                <a:gd name="T43" fmla="*/ 832 h 970"/>
                <a:gd name="T44" fmla="*/ 68 w 335"/>
                <a:gd name="T45" fmla="*/ 832 h 970"/>
                <a:gd name="T46" fmla="*/ 280 w 335"/>
                <a:gd name="T47" fmla="*/ 969 h 970"/>
                <a:gd name="T48" fmla="*/ 280 w 335"/>
                <a:gd name="T49" fmla="*/ 969 h 970"/>
                <a:gd name="T50" fmla="*/ 280 w 335"/>
                <a:gd name="T51" fmla="*/ 953 h 970"/>
                <a:gd name="T52" fmla="*/ 280 w 335"/>
                <a:gd name="T53" fmla="*/ 953 h 970"/>
                <a:gd name="T54" fmla="*/ 280 w 335"/>
                <a:gd name="T55" fmla="*/ 937 h 970"/>
                <a:gd name="T56" fmla="*/ 280 w 335"/>
                <a:gd name="T57" fmla="*/ 937 h 970"/>
                <a:gd name="T58" fmla="*/ 97 w 335"/>
                <a:gd name="T59" fmla="*/ 817 h 970"/>
                <a:gd name="T60" fmla="*/ 97 w 335"/>
                <a:gd name="T61" fmla="*/ 817 h 970"/>
                <a:gd name="T62" fmla="*/ 247 w 335"/>
                <a:gd name="T63" fmla="*/ 147 h 970"/>
                <a:gd name="T64" fmla="*/ 247 w 335"/>
                <a:gd name="T65" fmla="*/ 147 h 970"/>
                <a:gd name="T66" fmla="*/ 260 w 335"/>
                <a:gd name="T67" fmla="*/ 148 h 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5" h="970">
                  <a:moveTo>
                    <a:pt x="218" y="74"/>
                  </a:moveTo>
                  <a:lnTo>
                    <a:pt x="218" y="74"/>
                  </a:lnTo>
                  <a:cubicBezTo>
                    <a:pt x="218" y="51"/>
                    <a:pt x="237" y="32"/>
                    <a:pt x="260" y="32"/>
                  </a:cubicBezTo>
                  <a:lnTo>
                    <a:pt x="260" y="32"/>
                  </a:lnTo>
                  <a:cubicBezTo>
                    <a:pt x="283" y="32"/>
                    <a:pt x="302" y="51"/>
                    <a:pt x="302" y="74"/>
                  </a:cubicBezTo>
                  <a:lnTo>
                    <a:pt x="302" y="74"/>
                  </a:lnTo>
                  <a:cubicBezTo>
                    <a:pt x="302" y="97"/>
                    <a:pt x="283" y="116"/>
                    <a:pt x="260" y="116"/>
                  </a:cubicBezTo>
                  <a:lnTo>
                    <a:pt x="260" y="116"/>
                  </a:lnTo>
                  <a:cubicBezTo>
                    <a:pt x="237" y="116"/>
                    <a:pt x="218" y="97"/>
                    <a:pt x="218" y="74"/>
                  </a:cubicBezTo>
                  <a:close/>
                  <a:moveTo>
                    <a:pt x="260" y="148"/>
                  </a:moveTo>
                  <a:lnTo>
                    <a:pt x="260" y="148"/>
                  </a:lnTo>
                  <a:cubicBezTo>
                    <a:pt x="301" y="148"/>
                    <a:pt x="334" y="115"/>
                    <a:pt x="334" y="74"/>
                  </a:cubicBezTo>
                  <a:lnTo>
                    <a:pt x="334" y="74"/>
                  </a:lnTo>
                  <a:cubicBezTo>
                    <a:pt x="334" y="33"/>
                    <a:pt x="301" y="0"/>
                    <a:pt x="260" y="0"/>
                  </a:cubicBezTo>
                  <a:lnTo>
                    <a:pt x="260" y="0"/>
                  </a:lnTo>
                  <a:cubicBezTo>
                    <a:pt x="219" y="0"/>
                    <a:pt x="186" y="33"/>
                    <a:pt x="186" y="74"/>
                  </a:cubicBezTo>
                  <a:lnTo>
                    <a:pt x="186" y="74"/>
                  </a:lnTo>
                  <a:cubicBezTo>
                    <a:pt x="186" y="99"/>
                    <a:pt x="198" y="121"/>
                    <a:pt x="217" y="134"/>
                  </a:cubicBezTo>
                  <a:lnTo>
                    <a:pt x="217" y="134"/>
                  </a:lnTo>
                  <a:cubicBezTo>
                    <a:pt x="194" y="175"/>
                    <a:pt x="146" y="269"/>
                    <a:pt x="104" y="379"/>
                  </a:cubicBezTo>
                  <a:lnTo>
                    <a:pt x="104" y="379"/>
                  </a:lnTo>
                  <a:cubicBezTo>
                    <a:pt x="31" y="577"/>
                    <a:pt x="18" y="729"/>
                    <a:pt x="68" y="832"/>
                  </a:cubicBezTo>
                  <a:lnTo>
                    <a:pt x="68" y="832"/>
                  </a:lnTo>
                  <a:cubicBezTo>
                    <a:pt x="104" y="907"/>
                    <a:pt x="178" y="953"/>
                    <a:pt x="280" y="969"/>
                  </a:cubicBezTo>
                  <a:lnTo>
                    <a:pt x="280" y="969"/>
                  </a:lnTo>
                  <a:cubicBezTo>
                    <a:pt x="280" y="964"/>
                    <a:pt x="280" y="959"/>
                    <a:pt x="280" y="953"/>
                  </a:cubicBezTo>
                  <a:lnTo>
                    <a:pt x="280" y="953"/>
                  </a:lnTo>
                  <a:cubicBezTo>
                    <a:pt x="280" y="947"/>
                    <a:pt x="280" y="942"/>
                    <a:pt x="280" y="937"/>
                  </a:cubicBezTo>
                  <a:lnTo>
                    <a:pt x="280" y="937"/>
                  </a:lnTo>
                  <a:cubicBezTo>
                    <a:pt x="189" y="923"/>
                    <a:pt x="128" y="883"/>
                    <a:pt x="97" y="817"/>
                  </a:cubicBezTo>
                  <a:lnTo>
                    <a:pt x="97" y="817"/>
                  </a:lnTo>
                  <a:cubicBezTo>
                    <a:pt x="0" y="618"/>
                    <a:pt x="199" y="234"/>
                    <a:pt x="247" y="147"/>
                  </a:cubicBezTo>
                  <a:lnTo>
                    <a:pt x="247" y="147"/>
                  </a:lnTo>
                  <a:cubicBezTo>
                    <a:pt x="251" y="148"/>
                    <a:pt x="256" y="148"/>
                    <a:pt x="260" y="148"/>
                  </a:cubicBezTo>
                  <a:close/>
                </a:path>
              </a:pathLst>
            </a:custGeom>
            <a:solidFill>
              <a:srgbClr val="3E64F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1" name="Freeform 168">
              <a:extLst>
                <a:ext uri="{FF2B5EF4-FFF2-40B4-BE49-F238E27FC236}">
                  <a16:creationId xmlns:a16="http://schemas.microsoft.com/office/drawing/2014/main" id="{589DB9A7-37BF-E2A6-E99C-0C56EDA994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1525" y="4943289"/>
              <a:ext cx="2007234" cy="709455"/>
            </a:xfrm>
            <a:custGeom>
              <a:avLst/>
              <a:gdLst>
                <a:gd name="T0" fmla="*/ 1509 w 1536"/>
                <a:gd name="T1" fmla="*/ 508 h 541"/>
                <a:gd name="T2" fmla="*/ 851 w 1536"/>
                <a:gd name="T3" fmla="*/ 32 h 541"/>
                <a:gd name="T4" fmla="*/ 231 w 1536"/>
                <a:gd name="T5" fmla="*/ 223 h 541"/>
                <a:gd name="T6" fmla="*/ 53 w 1536"/>
                <a:gd name="T7" fmla="*/ 452 h 541"/>
                <a:gd name="T8" fmla="*/ 46 w 1536"/>
                <a:gd name="T9" fmla="*/ 422 h 541"/>
                <a:gd name="T10" fmla="*/ 30 w 1536"/>
                <a:gd name="T11" fmla="*/ 447 h 541"/>
                <a:gd name="T12" fmla="*/ 13 w 1536"/>
                <a:gd name="T13" fmla="*/ 423 h 541"/>
                <a:gd name="T14" fmla="*/ 8 w 1536"/>
                <a:gd name="T15" fmla="*/ 429 h 541"/>
                <a:gd name="T16" fmla="*/ 1 w 1536"/>
                <a:gd name="T17" fmla="*/ 467 h 541"/>
                <a:gd name="T18" fmla="*/ 1 w 1536"/>
                <a:gd name="T19" fmla="*/ 473 h 541"/>
                <a:gd name="T20" fmla="*/ 7 w 1536"/>
                <a:gd name="T21" fmla="*/ 473 h 541"/>
                <a:gd name="T22" fmla="*/ 16 w 1536"/>
                <a:gd name="T23" fmla="*/ 433 h 541"/>
                <a:gd name="T24" fmla="*/ 26 w 1536"/>
                <a:gd name="T25" fmla="*/ 460 h 541"/>
                <a:gd name="T26" fmla="*/ 30 w 1536"/>
                <a:gd name="T27" fmla="*/ 464 h 541"/>
                <a:gd name="T28" fmla="*/ 38 w 1536"/>
                <a:gd name="T29" fmla="*/ 451 h 541"/>
                <a:gd name="T30" fmla="*/ 44 w 1536"/>
                <a:gd name="T31" fmla="*/ 432 h 541"/>
                <a:gd name="T32" fmla="*/ 44 w 1536"/>
                <a:gd name="T33" fmla="*/ 452 h 541"/>
                <a:gd name="T34" fmla="*/ 47 w 1536"/>
                <a:gd name="T35" fmla="*/ 471 h 541"/>
                <a:gd name="T36" fmla="*/ 68 w 1536"/>
                <a:gd name="T37" fmla="*/ 464 h 541"/>
                <a:gd name="T38" fmla="*/ 83 w 1536"/>
                <a:gd name="T39" fmla="*/ 456 h 541"/>
                <a:gd name="T40" fmla="*/ 78 w 1536"/>
                <a:gd name="T41" fmla="*/ 464 h 541"/>
                <a:gd name="T42" fmla="*/ 66 w 1536"/>
                <a:gd name="T43" fmla="*/ 488 h 541"/>
                <a:gd name="T44" fmla="*/ 70 w 1536"/>
                <a:gd name="T45" fmla="*/ 495 h 541"/>
                <a:gd name="T46" fmla="*/ 82 w 1536"/>
                <a:gd name="T47" fmla="*/ 499 h 541"/>
                <a:gd name="T48" fmla="*/ 107 w 1536"/>
                <a:gd name="T49" fmla="*/ 494 h 541"/>
                <a:gd name="T50" fmla="*/ 111 w 1536"/>
                <a:gd name="T51" fmla="*/ 489 h 541"/>
                <a:gd name="T52" fmla="*/ 105 w 1536"/>
                <a:gd name="T53" fmla="*/ 486 h 541"/>
                <a:gd name="T54" fmla="*/ 75 w 1536"/>
                <a:gd name="T55" fmla="*/ 489 h 541"/>
                <a:gd name="T56" fmla="*/ 75 w 1536"/>
                <a:gd name="T57" fmla="*/ 488 h 541"/>
                <a:gd name="T58" fmla="*/ 85 w 1536"/>
                <a:gd name="T59" fmla="*/ 469 h 541"/>
                <a:gd name="T60" fmla="*/ 92 w 1536"/>
                <a:gd name="T61" fmla="*/ 448 h 541"/>
                <a:gd name="T62" fmla="*/ 65 w 1536"/>
                <a:gd name="T63" fmla="*/ 456 h 541"/>
                <a:gd name="T64" fmla="*/ 57 w 1536"/>
                <a:gd name="T65" fmla="*/ 461 h 541"/>
                <a:gd name="T66" fmla="*/ 237 w 1536"/>
                <a:gd name="T67" fmla="*/ 230 h 541"/>
                <a:gd name="T68" fmla="*/ 849 w 1536"/>
                <a:gd name="T69" fmla="*/ 40 h 541"/>
                <a:gd name="T70" fmla="*/ 1503 w 1536"/>
                <a:gd name="T71" fmla="*/ 513 h 541"/>
                <a:gd name="T72" fmla="*/ 1535 w 1536"/>
                <a:gd name="T73" fmla="*/ 539 h 541"/>
                <a:gd name="T74" fmla="*/ 1509 w 1536"/>
                <a:gd name="T75" fmla="*/ 508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36" h="541">
                  <a:moveTo>
                    <a:pt x="1509" y="508"/>
                  </a:moveTo>
                  <a:lnTo>
                    <a:pt x="1509" y="508"/>
                  </a:lnTo>
                  <a:cubicBezTo>
                    <a:pt x="1333" y="289"/>
                    <a:pt x="1150" y="64"/>
                    <a:pt x="851" y="32"/>
                  </a:cubicBezTo>
                  <a:lnTo>
                    <a:pt x="851" y="32"/>
                  </a:lnTo>
                  <a:cubicBezTo>
                    <a:pt x="551" y="0"/>
                    <a:pt x="348" y="118"/>
                    <a:pt x="231" y="223"/>
                  </a:cubicBezTo>
                  <a:lnTo>
                    <a:pt x="231" y="223"/>
                  </a:lnTo>
                  <a:cubicBezTo>
                    <a:pt x="126" y="318"/>
                    <a:pt x="69" y="419"/>
                    <a:pt x="53" y="452"/>
                  </a:cubicBezTo>
                  <a:lnTo>
                    <a:pt x="53" y="452"/>
                  </a:lnTo>
                  <a:cubicBezTo>
                    <a:pt x="53" y="437"/>
                    <a:pt x="53" y="423"/>
                    <a:pt x="46" y="422"/>
                  </a:cubicBezTo>
                  <a:lnTo>
                    <a:pt x="46" y="422"/>
                  </a:lnTo>
                  <a:cubicBezTo>
                    <a:pt x="39" y="421"/>
                    <a:pt x="35" y="431"/>
                    <a:pt x="30" y="447"/>
                  </a:cubicBezTo>
                  <a:lnTo>
                    <a:pt x="30" y="447"/>
                  </a:lnTo>
                  <a:cubicBezTo>
                    <a:pt x="27" y="434"/>
                    <a:pt x="20" y="422"/>
                    <a:pt x="13" y="423"/>
                  </a:cubicBezTo>
                  <a:lnTo>
                    <a:pt x="13" y="423"/>
                  </a:lnTo>
                  <a:cubicBezTo>
                    <a:pt x="11" y="423"/>
                    <a:pt x="8" y="425"/>
                    <a:pt x="8" y="429"/>
                  </a:cubicBezTo>
                  <a:lnTo>
                    <a:pt x="8" y="429"/>
                  </a:lnTo>
                  <a:cubicBezTo>
                    <a:pt x="5" y="460"/>
                    <a:pt x="2" y="467"/>
                    <a:pt x="1" y="467"/>
                  </a:cubicBezTo>
                  <a:lnTo>
                    <a:pt x="1" y="467"/>
                  </a:lnTo>
                  <a:cubicBezTo>
                    <a:pt x="0" y="469"/>
                    <a:pt x="0" y="471"/>
                    <a:pt x="1" y="473"/>
                  </a:cubicBezTo>
                  <a:lnTo>
                    <a:pt x="1" y="473"/>
                  </a:lnTo>
                  <a:cubicBezTo>
                    <a:pt x="2" y="474"/>
                    <a:pt x="5" y="475"/>
                    <a:pt x="7" y="473"/>
                  </a:cubicBezTo>
                  <a:lnTo>
                    <a:pt x="7" y="473"/>
                  </a:lnTo>
                  <a:cubicBezTo>
                    <a:pt x="10" y="470"/>
                    <a:pt x="14" y="456"/>
                    <a:pt x="16" y="433"/>
                  </a:cubicBezTo>
                  <a:lnTo>
                    <a:pt x="16" y="433"/>
                  </a:lnTo>
                  <a:cubicBezTo>
                    <a:pt x="18" y="437"/>
                    <a:pt x="23" y="445"/>
                    <a:pt x="26" y="460"/>
                  </a:cubicBezTo>
                  <a:lnTo>
                    <a:pt x="26" y="460"/>
                  </a:lnTo>
                  <a:cubicBezTo>
                    <a:pt x="26" y="462"/>
                    <a:pt x="28" y="464"/>
                    <a:pt x="30" y="464"/>
                  </a:cubicBezTo>
                  <a:lnTo>
                    <a:pt x="30" y="464"/>
                  </a:lnTo>
                  <a:cubicBezTo>
                    <a:pt x="34" y="464"/>
                    <a:pt x="35" y="461"/>
                    <a:pt x="38" y="451"/>
                  </a:cubicBezTo>
                  <a:lnTo>
                    <a:pt x="38" y="451"/>
                  </a:lnTo>
                  <a:cubicBezTo>
                    <a:pt x="39" y="446"/>
                    <a:pt x="42" y="437"/>
                    <a:pt x="44" y="432"/>
                  </a:cubicBezTo>
                  <a:lnTo>
                    <a:pt x="44" y="432"/>
                  </a:lnTo>
                  <a:cubicBezTo>
                    <a:pt x="45" y="437"/>
                    <a:pt x="44" y="447"/>
                    <a:pt x="44" y="452"/>
                  </a:cubicBezTo>
                  <a:lnTo>
                    <a:pt x="44" y="452"/>
                  </a:lnTo>
                  <a:cubicBezTo>
                    <a:pt x="44" y="465"/>
                    <a:pt x="44" y="469"/>
                    <a:pt x="47" y="471"/>
                  </a:cubicBezTo>
                  <a:lnTo>
                    <a:pt x="47" y="471"/>
                  </a:lnTo>
                  <a:cubicBezTo>
                    <a:pt x="50" y="473"/>
                    <a:pt x="55" y="471"/>
                    <a:pt x="68" y="464"/>
                  </a:cubicBezTo>
                  <a:lnTo>
                    <a:pt x="68" y="464"/>
                  </a:lnTo>
                  <a:cubicBezTo>
                    <a:pt x="73" y="461"/>
                    <a:pt x="79" y="458"/>
                    <a:pt x="83" y="456"/>
                  </a:cubicBezTo>
                  <a:lnTo>
                    <a:pt x="83" y="456"/>
                  </a:lnTo>
                  <a:cubicBezTo>
                    <a:pt x="82" y="459"/>
                    <a:pt x="80" y="462"/>
                    <a:pt x="78" y="464"/>
                  </a:cubicBezTo>
                  <a:lnTo>
                    <a:pt x="78" y="464"/>
                  </a:lnTo>
                  <a:cubicBezTo>
                    <a:pt x="73" y="472"/>
                    <a:pt x="66" y="481"/>
                    <a:pt x="66" y="488"/>
                  </a:cubicBezTo>
                  <a:lnTo>
                    <a:pt x="66" y="488"/>
                  </a:lnTo>
                  <a:cubicBezTo>
                    <a:pt x="66" y="491"/>
                    <a:pt x="67" y="494"/>
                    <a:pt x="70" y="495"/>
                  </a:cubicBezTo>
                  <a:lnTo>
                    <a:pt x="70" y="495"/>
                  </a:lnTo>
                  <a:cubicBezTo>
                    <a:pt x="73" y="498"/>
                    <a:pt x="77" y="499"/>
                    <a:pt x="82" y="499"/>
                  </a:cubicBezTo>
                  <a:lnTo>
                    <a:pt x="82" y="499"/>
                  </a:lnTo>
                  <a:cubicBezTo>
                    <a:pt x="92" y="499"/>
                    <a:pt x="104" y="495"/>
                    <a:pt x="107" y="494"/>
                  </a:cubicBezTo>
                  <a:lnTo>
                    <a:pt x="107" y="494"/>
                  </a:lnTo>
                  <a:cubicBezTo>
                    <a:pt x="110" y="494"/>
                    <a:pt x="111" y="491"/>
                    <a:pt x="111" y="489"/>
                  </a:cubicBezTo>
                  <a:lnTo>
                    <a:pt x="111" y="489"/>
                  </a:lnTo>
                  <a:cubicBezTo>
                    <a:pt x="110" y="487"/>
                    <a:pt x="107" y="486"/>
                    <a:pt x="105" y="486"/>
                  </a:cubicBezTo>
                  <a:lnTo>
                    <a:pt x="105" y="486"/>
                  </a:lnTo>
                  <a:cubicBezTo>
                    <a:pt x="93" y="490"/>
                    <a:pt x="79" y="492"/>
                    <a:pt x="75" y="489"/>
                  </a:cubicBezTo>
                  <a:lnTo>
                    <a:pt x="75" y="489"/>
                  </a:lnTo>
                  <a:cubicBezTo>
                    <a:pt x="75" y="489"/>
                    <a:pt x="75" y="489"/>
                    <a:pt x="75" y="488"/>
                  </a:cubicBezTo>
                  <a:lnTo>
                    <a:pt x="75" y="488"/>
                  </a:lnTo>
                  <a:cubicBezTo>
                    <a:pt x="75" y="484"/>
                    <a:pt x="81" y="475"/>
                    <a:pt x="85" y="469"/>
                  </a:cubicBezTo>
                  <a:lnTo>
                    <a:pt x="85" y="469"/>
                  </a:lnTo>
                  <a:cubicBezTo>
                    <a:pt x="92" y="459"/>
                    <a:pt x="96" y="453"/>
                    <a:pt x="92" y="448"/>
                  </a:cubicBezTo>
                  <a:lnTo>
                    <a:pt x="92" y="448"/>
                  </a:lnTo>
                  <a:cubicBezTo>
                    <a:pt x="88" y="445"/>
                    <a:pt x="81" y="448"/>
                    <a:pt x="65" y="456"/>
                  </a:cubicBezTo>
                  <a:lnTo>
                    <a:pt x="65" y="456"/>
                  </a:lnTo>
                  <a:cubicBezTo>
                    <a:pt x="62" y="458"/>
                    <a:pt x="59" y="459"/>
                    <a:pt x="57" y="461"/>
                  </a:cubicBezTo>
                  <a:lnTo>
                    <a:pt x="57" y="461"/>
                  </a:lnTo>
                  <a:cubicBezTo>
                    <a:pt x="68" y="437"/>
                    <a:pt x="125" y="330"/>
                    <a:pt x="237" y="230"/>
                  </a:cubicBezTo>
                  <a:lnTo>
                    <a:pt x="237" y="230"/>
                  </a:lnTo>
                  <a:cubicBezTo>
                    <a:pt x="353" y="126"/>
                    <a:pt x="553" y="8"/>
                    <a:pt x="849" y="40"/>
                  </a:cubicBezTo>
                  <a:lnTo>
                    <a:pt x="849" y="40"/>
                  </a:lnTo>
                  <a:cubicBezTo>
                    <a:pt x="1145" y="72"/>
                    <a:pt x="1327" y="296"/>
                    <a:pt x="1503" y="513"/>
                  </a:cubicBezTo>
                  <a:lnTo>
                    <a:pt x="1503" y="513"/>
                  </a:lnTo>
                  <a:cubicBezTo>
                    <a:pt x="1510" y="522"/>
                    <a:pt x="1518" y="531"/>
                    <a:pt x="1526" y="540"/>
                  </a:cubicBezTo>
                  <a:lnTo>
                    <a:pt x="1535" y="539"/>
                  </a:lnTo>
                  <a:lnTo>
                    <a:pt x="1535" y="539"/>
                  </a:lnTo>
                  <a:cubicBezTo>
                    <a:pt x="1526" y="529"/>
                    <a:pt x="1518" y="518"/>
                    <a:pt x="1509" y="50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2" name="Freeform 169">
              <a:extLst>
                <a:ext uri="{FF2B5EF4-FFF2-40B4-BE49-F238E27FC236}">
                  <a16:creationId xmlns:a16="http://schemas.microsoft.com/office/drawing/2014/main" id="{286F9F15-EA64-3A76-C36E-82150AAEC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2589" y="7792638"/>
              <a:ext cx="334539" cy="501810"/>
            </a:xfrm>
            <a:custGeom>
              <a:avLst/>
              <a:gdLst>
                <a:gd name="T0" fmla="*/ 236 w 255"/>
                <a:gd name="T1" fmla="*/ 204 h 385"/>
                <a:gd name="T2" fmla="*/ 236 w 255"/>
                <a:gd name="T3" fmla="*/ 204 h 385"/>
                <a:gd name="T4" fmla="*/ 128 w 255"/>
                <a:gd name="T5" fmla="*/ 371 h 385"/>
                <a:gd name="T6" fmla="*/ 128 w 255"/>
                <a:gd name="T7" fmla="*/ 371 h 385"/>
                <a:gd name="T8" fmla="*/ 0 w 255"/>
                <a:gd name="T9" fmla="*/ 148 h 385"/>
                <a:gd name="T10" fmla="*/ 0 w 255"/>
                <a:gd name="T11" fmla="*/ 148 h 385"/>
                <a:gd name="T12" fmla="*/ 170 w 255"/>
                <a:gd name="T13" fmla="*/ 10 h 385"/>
                <a:gd name="T14" fmla="*/ 170 w 255"/>
                <a:gd name="T15" fmla="*/ 10 h 385"/>
                <a:gd name="T16" fmla="*/ 236 w 255"/>
                <a:gd name="T17" fmla="*/ 204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385">
                  <a:moveTo>
                    <a:pt x="236" y="204"/>
                  </a:moveTo>
                  <a:lnTo>
                    <a:pt x="236" y="204"/>
                  </a:lnTo>
                  <a:cubicBezTo>
                    <a:pt x="218" y="339"/>
                    <a:pt x="169" y="384"/>
                    <a:pt x="128" y="371"/>
                  </a:cubicBezTo>
                  <a:lnTo>
                    <a:pt x="128" y="371"/>
                  </a:lnTo>
                  <a:cubicBezTo>
                    <a:pt x="68" y="352"/>
                    <a:pt x="0" y="262"/>
                    <a:pt x="0" y="148"/>
                  </a:cubicBezTo>
                  <a:lnTo>
                    <a:pt x="0" y="148"/>
                  </a:lnTo>
                  <a:cubicBezTo>
                    <a:pt x="0" y="0"/>
                    <a:pt x="115" y="10"/>
                    <a:pt x="170" y="10"/>
                  </a:cubicBezTo>
                  <a:lnTo>
                    <a:pt x="170" y="10"/>
                  </a:lnTo>
                  <a:cubicBezTo>
                    <a:pt x="226" y="10"/>
                    <a:pt x="254" y="64"/>
                    <a:pt x="236" y="204"/>
                  </a:cubicBezTo>
                </a:path>
              </a:pathLst>
            </a:custGeom>
            <a:solidFill>
              <a:srgbClr val="FBB9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3" name="Freeform 170">
              <a:extLst>
                <a:ext uri="{FF2B5EF4-FFF2-40B4-BE49-F238E27FC236}">
                  <a16:creationId xmlns:a16="http://schemas.microsoft.com/office/drawing/2014/main" id="{88B285E9-F3DA-D2FA-3E65-E4F43DE4C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6892" y="10036355"/>
              <a:ext cx="449898" cy="1493888"/>
            </a:xfrm>
            <a:custGeom>
              <a:avLst/>
              <a:gdLst>
                <a:gd name="T0" fmla="*/ 160 w 343"/>
                <a:gd name="T1" fmla="*/ 1094 h 1141"/>
                <a:gd name="T2" fmla="*/ 160 w 343"/>
                <a:gd name="T3" fmla="*/ 1094 h 1141"/>
                <a:gd name="T4" fmla="*/ 251 w 343"/>
                <a:gd name="T5" fmla="*/ 1110 h 1141"/>
                <a:gd name="T6" fmla="*/ 251 w 343"/>
                <a:gd name="T7" fmla="*/ 1110 h 1141"/>
                <a:gd name="T8" fmla="*/ 342 w 343"/>
                <a:gd name="T9" fmla="*/ 130 h 1141"/>
                <a:gd name="T10" fmla="*/ 342 w 343"/>
                <a:gd name="T11" fmla="*/ 130 h 1141"/>
                <a:gd name="T12" fmla="*/ 80 w 343"/>
                <a:gd name="T13" fmla="*/ 156 h 1141"/>
                <a:gd name="T14" fmla="*/ 80 w 343"/>
                <a:gd name="T15" fmla="*/ 156 h 1141"/>
                <a:gd name="T16" fmla="*/ 66 w 343"/>
                <a:gd name="T17" fmla="*/ 733 h 1141"/>
                <a:gd name="T18" fmla="*/ 66 w 343"/>
                <a:gd name="T19" fmla="*/ 733 h 1141"/>
                <a:gd name="T20" fmla="*/ 85 w 343"/>
                <a:gd name="T21" fmla="*/ 999 h 1141"/>
                <a:gd name="T22" fmla="*/ 85 w 343"/>
                <a:gd name="T23" fmla="*/ 999 h 1141"/>
                <a:gd name="T24" fmla="*/ 160 w 343"/>
                <a:gd name="T25" fmla="*/ 1094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3" h="1141">
                  <a:moveTo>
                    <a:pt x="160" y="1094"/>
                  </a:moveTo>
                  <a:lnTo>
                    <a:pt x="160" y="1094"/>
                  </a:lnTo>
                  <a:cubicBezTo>
                    <a:pt x="173" y="1140"/>
                    <a:pt x="251" y="1110"/>
                    <a:pt x="251" y="1110"/>
                  </a:cubicBezTo>
                  <a:lnTo>
                    <a:pt x="251" y="1110"/>
                  </a:lnTo>
                  <a:cubicBezTo>
                    <a:pt x="122" y="769"/>
                    <a:pt x="342" y="130"/>
                    <a:pt x="342" y="130"/>
                  </a:cubicBezTo>
                  <a:lnTo>
                    <a:pt x="342" y="130"/>
                  </a:lnTo>
                  <a:cubicBezTo>
                    <a:pt x="342" y="130"/>
                    <a:pt x="145" y="0"/>
                    <a:pt x="80" y="156"/>
                  </a:cubicBezTo>
                  <a:lnTo>
                    <a:pt x="80" y="156"/>
                  </a:lnTo>
                  <a:cubicBezTo>
                    <a:pt x="14" y="312"/>
                    <a:pt x="0" y="500"/>
                    <a:pt x="66" y="733"/>
                  </a:cubicBezTo>
                  <a:lnTo>
                    <a:pt x="66" y="733"/>
                  </a:lnTo>
                  <a:cubicBezTo>
                    <a:pt x="106" y="877"/>
                    <a:pt x="85" y="999"/>
                    <a:pt x="85" y="999"/>
                  </a:cubicBezTo>
                  <a:lnTo>
                    <a:pt x="85" y="999"/>
                  </a:lnTo>
                  <a:cubicBezTo>
                    <a:pt x="85" y="999"/>
                    <a:pt x="132" y="989"/>
                    <a:pt x="160" y="1094"/>
                  </a:cubicBezTo>
                </a:path>
              </a:pathLst>
            </a:custGeom>
            <a:solidFill>
              <a:srgbClr val="E09F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4" name="Freeform 171">
              <a:extLst>
                <a:ext uri="{FF2B5EF4-FFF2-40B4-BE49-F238E27FC236}">
                  <a16:creationId xmlns:a16="http://schemas.microsoft.com/office/drawing/2014/main" id="{D85B1CEF-3A15-40C2-3AEE-B6A2EC7D56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4568" y="11334134"/>
              <a:ext cx="369147" cy="305701"/>
            </a:xfrm>
            <a:custGeom>
              <a:avLst/>
              <a:gdLst>
                <a:gd name="T0" fmla="*/ 205 w 281"/>
                <a:gd name="T1" fmla="*/ 121 h 235"/>
                <a:gd name="T2" fmla="*/ 205 w 281"/>
                <a:gd name="T3" fmla="*/ 121 h 235"/>
                <a:gd name="T4" fmla="*/ 114 w 281"/>
                <a:gd name="T5" fmla="*/ 105 h 235"/>
                <a:gd name="T6" fmla="*/ 114 w 281"/>
                <a:gd name="T7" fmla="*/ 105 h 235"/>
                <a:gd name="T8" fmla="*/ 39 w 281"/>
                <a:gd name="T9" fmla="*/ 10 h 235"/>
                <a:gd name="T10" fmla="*/ 39 w 281"/>
                <a:gd name="T11" fmla="*/ 10 h 235"/>
                <a:gd name="T12" fmla="*/ 0 w 281"/>
                <a:gd name="T13" fmla="*/ 65 h 235"/>
                <a:gd name="T14" fmla="*/ 14 w 281"/>
                <a:gd name="T15" fmla="*/ 234 h 235"/>
                <a:gd name="T16" fmla="*/ 50 w 281"/>
                <a:gd name="T17" fmla="*/ 234 h 235"/>
                <a:gd name="T18" fmla="*/ 65 w 281"/>
                <a:gd name="T19" fmla="*/ 95 h 235"/>
                <a:gd name="T20" fmla="*/ 115 w 281"/>
                <a:gd name="T21" fmla="*/ 216 h 235"/>
                <a:gd name="T22" fmla="*/ 115 w 281"/>
                <a:gd name="T23" fmla="*/ 216 h 235"/>
                <a:gd name="T24" fmla="*/ 267 w 281"/>
                <a:gd name="T25" fmla="*/ 190 h 235"/>
                <a:gd name="T26" fmla="*/ 267 w 281"/>
                <a:gd name="T27" fmla="*/ 190 h 235"/>
                <a:gd name="T28" fmla="*/ 205 w 281"/>
                <a:gd name="T29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1" h="235">
                  <a:moveTo>
                    <a:pt x="205" y="121"/>
                  </a:moveTo>
                  <a:lnTo>
                    <a:pt x="205" y="121"/>
                  </a:lnTo>
                  <a:cubicBezTo>
                    <a:pt x="205" y="121"/>
                    <a:pt x="127" y="151"/>
                    <a:pt x="114" y="105"/>
                  </a:cubicBezTo>
                  <a:lnTo>
                    <a:pt x="114" y="105"/>
                  </a:lnTo>
                  <a:cubicBezTo>
                    <a:pt x="86" y="0"/>
                    <a:pt x="39" y="10"/>
                    <a:pt x="39" y="10"/>
                  </a:cubicBezTo>
                  <a:lnTo>
                    <a:pt x="39" y="10"/>
                  </a:lnTo>
                  <a:cubicBezTo>
                    <a:pt x="3" y="27"/>
                    <a:pt x="0" y="65"/>
                    <a:pt x="0" y="65"/>
                  </a:cubicBezTo>
                  <a:lnTo>
                    <a:pt x="14" y="234"/>
                  </a:lnTo>
                  <a:lnTo>
                    <a:pt x="50" y="234"/>
                  </a:lnTo>
                  <a:lnTo>
                    <a:pt x="65" y="95"/>
                  </a:lnTo>
                  <a:lnTo>
                    <a:pt x="115" y="216"/>
                  </a:lnTo>
                  <a:lnTo>
                    <a:pt x="115" y="216"/>
                  </a:lnTo>
                  <a:cubicBezTo>
                    <a:pt x="166" y="216"/>
                    <a:pt x="267" y="190"/>
                    <a:pt x="267" y="190"/>
                  </a:cubicBezTo>
                  <a:lnTo>
                    <a:pt x="267" y="190"/>
                  </a:lnTo>
                  <a:cubicBezTo>
                    <a:pt x="280" y="87"/>
                    <a:pt x="205" y="121"/>
                    <a:pt x="205" y="121"/>
                  </a:cubicBezTo>
                </a:path>
              </a:pathLst>
            </a:custGeom>
            <a:solidFill>
              <a:srgbClr val="00254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5" name="Freeform 172">
              <a:extLst>
                <a:ext uri="{FF2B5EF4-FFF2-40B4-BE49-F238E27FC236}">
                  <a16:creationId xmlns:a16="http://schemas.microsoft.com/office/drawing/2014/main" id="{D38E5ACF-70A7-5C76-25EF-34FB0A6EB5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6824" y="10145947"/>
              <a:ext cx="426825" cy="1493892"/>
            </a:xfrm>
            <a:custGeom>
              <a:avLst/>
              <a:gdLst>
                <a:gd name="T0" fmla="*/ 233 w 326"/>
                <a:gd name="T1" fmla="*/ 1094 h 1141"/>
                <a:gd name="T2" fmla="*/ 233 w 326"/>
                <a:gd name="T3" fmla="*/ 1094 h 1141"/>
                <a:gd name="T4" fmla="*/ 325 w 326"/>
                <a:gd name="T5" fmla="*/ 1109 h 1141"/>
                <a:gd name="T6" fmla="*/ 325 w 326"/>
                <a:gd name="T7" fmla="*/ 1109 h 1141"/>
                <a:gd name="T8" fmla="*/ 308 w 326"/>
                <a:gd name="T9" fmla="*/ 130 h 1141"/>
                <a:gd name="T10" fmla="*/ 308 w 326"/>
                <a:gd name="T11" fmla="*/ 130 h 1141"/>
                <a:gd name="T12" fmla="*/ 48 w 326"/>
                <a:gd name="T13" fmla="*/ 156 h 1141"/>
                <a:gd name="T14" fmla="*/ 48 w 326"/>
                <a:gd name="T15" fmla="*/ 156 h 1141"/>
                <a:gd name="T16" fmla="*/ 98 w 326"/>
                <a:gd name="T17" fmla="*/ 733 h 1141"/>
                <a:gd name="T18" fmla="*/ 98 w 326"/>
                <a:gd name="T19" fmla="*/ 733 h 1141"/>
                <a:gd name="T20" fmla="*/ 147 w 326"/>
                <a:gd name="T21" fmla="*/ 1000 h 1141"/>
                <a:gd name="T22" fmla="*/ 147 w 326"/>
                <a:gd name="T23" fmla="*/ 1000 h 1141"/>
                <a:gd name="T24" fmla="*/ 233 w 326"/>
                <a:gd name="T25" fmla="*/ 1094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6" h="1141">
                  <a:moveTo>
                    <a:pt x="233" y="1094"/>
                  </a:moveTo>
                  <a:lnTo>
                    <a:pt x="233" y="1094"/>
                  </a:lnTo>
                  <a:cubicBezTo>
                    <a:pt x="251" y="1140"/>
                    <a:pt x="325" y="1109"/>
                    <a:pt x="325" y="1109"/>
                  </a:cubicBezTo>
                  <a:lnTo>
                    <a:pt x="325" y="1109"/>
                  </a:lnTo>
                  <a:cubicBezTo>
                    <a:pt x="158" y="769"/>
                    <a:pt x="308" y="130"/>
                    <a:pt x="308" y="130"/>
                  </a:cubicBezTo>
                  <a:lnTo>
                    <a:pt x="308" y="130"/>
                  </a:lnTo>
                  <a:cubicBezTo>
                    <a:pt x="308" y="130"/>
                    <a:pt x="97" y="0"/>
                    <a:pt x="48" y="156"/>
                  </a:cubicBezTo>
                  <a:lnTo>
                    <a:pt x="48" y="156"/>
                  </a:lnTo>
                  <a:cubicBezTo>
                    <a:pt x="0" y="311"/>
                    <a:pt x="7" y="499"/>
                    <a:pt x="98" y="733"/>
                  </a:cubicBezTo>
                  <a:lnTo>
                    <a:pt x="98" y="733"/>
                  </a:lnTo>
                  <a:cubicBezTo>
                    <a:pt x="155" y="877"/>
                    <a:pt x="147" y="1000"/>
                    <a:pt x="147" y="1000"/>
                  </a:cubicBezTo>
                  <a:lnTo>
                    <a:pt x="147" y="1000"/>
                  </a:lnTo>
                  <a:cubicBezTo>
                    <a:pt x="147" y="1000"/>
                    <a:pt x="192" y="989"/>
                    <a:pt x="233" y="1094"/>
                  </a:cubicBezTo>
                </a:path>
              </a:pathLst>
            </a:custGeom>
            <a:solidFill>
              <a:srgbClr val="FBB9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6" name="Freeform 173">
              <a:extLst>
                <a:ext uri="{FF2B5EF4-FFF2-40B4-BE49-F238E27FC236}">
                  <a16:creationId xmlns:a16="http://schemas.microsoft.com/office/drawing/2014/main" id="{E963E714-9CF0-33C6-095F-2EDBBAC79F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1016" y="11437957"/>
              <a:ext cx="374916" cy="305701"/>
            </a:xfrm>
            <a:custGeom>
              <a:avLst/>
              <a:gdLst>
                <a:gd name="T0" fmla="*/ 213 w 285"/>
                <a:gd name="T1" fmla="*/ 120 h 234"/>
                <a:gd name="T2" fmla="*/ 213 w 285"/>
                <a:gd name="T3" fmla="*/ 120 h 234"/>
                <a:gd name="T4" fmla="*/ 121 w 285"/>
                <a:gd name="T5" fmla="*/ 105 h 234"/>
                <a:gd name="T6" fmla="*/ 121 w 285"/>
                <a:gd name="T7" fmla="*/ 105 h 234"/>
                <a:gd name="T8" fmla="*/ 35 w 285"/>
                <a:gd name="T9" fmla="*/ 11 h 234"/>
                <a:gd name="T10" fmla="*/ 35 w 285"/>
                <a:gd name="T11" fmla="*/ 11 h 234"/>
                <a:gd name="T12" fmla="*/ 2 w 285"/>
                <a:gd name="T13" fmla="*/ 65 h 234"/>
                <a:gd name="T14" fmla="*/ 35 w 285"/>
                <a:gd name="T15" fmla="*/ 233 h 234"/>
                <a:gd name="T16" fmla="*/ 70 w 285"/>
                <a:gd name="T17" fmla="*/ 233 h 234"/>
                <a:gd name="T18" fmla="*/ 70 w 285"/>
                <a:gd name="T19" fmla="*/ 96 h 234"/>
                <a:gd name="T20" fmla="*/ 134 w 285"/>
                <a:gd name="T21" fmla="*/ 216 h 234"/>
                <a:gd name="T22" fmla="*/ 134 w 285"/>
                <a:gd name="T23" fmla="*/ 216 h 234"/>
                <a:gd name="T24" fmla="*/ 282 w 285"/>
                <a:gd name="T25" fmla="*/ 189 h 234"/>
                <a:gd name="T26" fmla="*/ 282 w 285"/>
                <a:gd name="T27" fmla="*/ 189 h 234"/>
                <a:gd name="T28" fmla="*/ 213 w 285"/>
                <a:gd name="T29" fmla="*/ 12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5" h="234">
                  <a:moveTo>
                    <a:pt x="213" y="120"/>
                  </a:moveTo>
                  <a:lnTo>
                    <a:pt x="213" y="120"/>
                  </a:lnTo>
                  <a:cubicBezTo>
                    <a:pt x="213" y="120"/>
                    <a:pt x="139" y="151"/>
                    <a:pt x="121" y="105"/>
                  </a:cubicBezTo>
                  <a:lnTo>
                    <a:pt x="121" y="105"/>
                  </a:lnTo>
                  <a:cubicBezTo>
                    <a:pt x="80" y="0"/>
                    <a:pt x="35" y="11"/>
                    <a:pt x="35" y="11"/>
                  </a:cubicBezTo>
                  <a:lnTo>
                    <a:pt x="35" y="11"/>
                  </a:lnTo>
                  <a:cubicBezTo>
                    <a:pt x="0" y="27"/>
                    <a:pt x="2" y="65"/>
                    <a:pt x="2" y="65"/>
                  </a:cubicBezTo>
                  <a:lnTo>
                    <a:pt x="35" y="233"/>
                  </a:lnTo>
                  <a:lnTo>
                    <a:pt x="70" y="233"/>
                  </a:lnTo>
                  <a:lnTo>
                    <a:pt x="70" y="96"/>
                  </a:lnTo>
                  <a:lnTo>
                    <a:pt x="134" y="216"/>
                  </a:lnTo>
                  <a:lnTo>
                    <a:pt x="134" y="216"/>
                  </a:lnTo>
                  <a:cubicBezTo>
                    <a:pt x="184" y="216"/>
                    <a:pt x="282" y="189"/>
                    <a:pt x="282" y="189"/>
                  </a:cubicBezTo>
                  <a:lnTo>
                    <a:pt x="282" y="189"/>
                  </a:lnTo>
                  <a:cubicBezTo>
                    <a:pt x="284" y="86"/>
                    <a:pt x="213" y="120"/>
                    <a:pt x="213" y="120"/>
                  </a:cubicBezTo>
                </a:path>
              </a:pathLst>
            </a:custGeom>
            <a:solidFill>
              <a:srgbClr val="00254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7" name="Freeform 174">
              <a:extLst>
                <a:ext uri="{FF2B5EF4-FFF2-40B4-BE49-F238E27FC236}">
                  <a16:creationId xmlns:a16="http://schemas.microsoft.com/office/drawing/2014/main" id="{F45B9BF4-E86D-F674-F5FC-4937705771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8149" y="7902231"/>
              <a:ext cx="536418" cy="795973"/>
            </a:xfrm>
            <a:custGeom>
              <a:avLst/>
              <a:gdLst>
                <a:gd name="T0" fmla="*/ 319 w 409"/>
                <a:gd name="T1" fmla="*/ 331 h 609"/>
                <a:gd name="T2" fmla="*/ 210 w 409"/>
                <a:gd name="T3" fmla="*/ 289 h 609"/>
                <a:gd name="T4" fmla="*/ 408 w 409"/>
                <a:gd name="T5" fmla="*/ 82 h 609"/>
                <a:gd name="T6" fmla="*/ 354 w 409"/>
                <a:gd name="T7" fmla="*/ 0 h 609"/>
                <a:gd name="T8" fmla="*/ 354 w 409"/>
                <a:gd name="T9" fmla="*/ 0 h 609"/>
                <a:gd name="T10" fmla="*/ 12 w 409"/>
                <a:gd name="T11" fmla="*/ 346 h 609"/>
                <a:gd name="T12" fmla="*/ 12 w 409"/>
                <a:gd name="T13" fmla="*/ 346 h 609"/>
                <a:gd name="T14" fmla="*/ 358 w 409"/>
                <a:gd name="T15" fmla="*/ 608 h 609"/>
                <a:gd name="T16" fmla="*/ 358 w 409"/>
                <a:gd name="T17" fmla="*/ 608 h 609"/>
                <a:gd name="T18" fmla="*/ 319 w 409"/>
                <a:gd name="T19" fmla="*/ 331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9" h="609">
                  <a:moveTo>
                    <a:pt x="319" y="331"/>
                  </a:moveTo>
                  <a:lnTo>
                    <a:pt x="210" y="289"/>
                  </a:lnTo>
                  <a:lnTo>
                    <a:pt x="408" y="82"/>
                  </a:lnTo>
                  <a:lnTo>
                    <a:pt x="354" y="0"/>
                  </a:lnTo>
                  <a:lnTo>
                    <a:pt x="354" y="0"/>
                  </a:lnTo>
                  <a:cubicBezTo>
                    <a:pt x="354" y="0"/>
                    <a:pt x="0" y="264"/>
                    <a:pt x="12" y="346"/>
                  </a:cubicBezTo>
                  <a:lnTo>
                    <a:pt x="12" y="346"/>
                  </a:lnTo>
                  <a:cubicBezTo>
                    <a:pt x="25" y="429"/>
                    <a:pt x="358" y="608"/>
                    <a:pt x="358" y="608"/>
                  </a:cubicBezTo>
                  <a:lnTo>
                    <a:pt x="358" y="608"/>
                  </a:lnTo>
                  <a:cubicBezTo>
                    <a:pt x="358" y="608"/>
                    <a:pt x="357" y="433"/>
                    <a:pt x="319" y="331"/>
                  </a:cubicBezTo>
                </a:path>
              </a:pathLst>
            </a:custGeom>
            <a:solidFill>
              <a:srgbClr val="82C55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8" name="Freeform 176">
              <a:extLst>
                <a:ext uri="{FF2B5EF4-FFF2-40B4-BE49-F238E27FC236}">
                  <a16:creationId xmlns:a16="http://schemas.microsoft.com/office/drawing/2014/main" id="{53E7A2F5-11D6-9F0E-DC78-0088B16CB2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14" y="8334823"/>
              <a:ext cx="726757" cy="842116"/>
            </a:xfrm>
            <a:custGeom>
              <a:avLst/>
              <a:gdLst>
                <a:gd name="T0" fmla="*/ 457 w 554"/>
                <a:gd name="T1" fmla="*/ 533 h 646"/>
                <a:gd name="T2" fmla="*/ 478 w 554"/>
                <a:gd name="T3" fmla="*/ 645 h 646"/>
                <a:gd name="T4" fmla="*/ 108 w 554"/>
                <a:gd name="T5" fmla="*/ 645 h 646"/>
                <a:gd name="T6" fmla="*/ 111 w 554"/>
                <a:gd name="T7" fmla="*/ 616 h 646"/>
                <a:gd name="T8" fmla="*/ 111 w 554"/>
                <a:gd name="T9" fmla="*/ 616 h 646"/>
                <a:gd name="T10" fmla="*/ 90 w 554"/>
                <a:gd name="T11" fmla="*/ 439 h 646"/>
                <a:gd name="T12" fmla="*/ 90 w 554"/>
                <a:gd name="T13" fmla="*/ 439 h 646"/>
                <a:gd name="T14" fmla="*/ 0 w 554"/>
                <a:gd name="T15" fmla="*/ 0 h 646"/>
                <a:gd name="T16" fmla="*/ 513 w 554"/>
                <a:gd name="T17" fmla="*/ 111 h 646"/>
                <a:gd name="T18" fmla="*/ 547 w 554"/>
                <a:gd name="T19" fmla="*/ 356 h 646"/>
                <a:gd name="T20" fmla="*/ 547 w 554"/>
                <a:gd name="T21" fmla="*/ 356 h 646"/>
                <a:gd name="T22" fmla="*/ 482 w 554"/>
                <a:gd name="T23" fmla="*/ 481 h 646"/>
                <a:gd name="T24" fmla="*/ 482 w 554"/>
                <a:gd name="T25" fmla="*/ 481 h 646"/>
                <a:gd name="T26" fmla="*/ 457 w 554"/>
                <a:gd name="T27" fmla="*/ 533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4" h="646">
                  <a:moveTo>
                    <a:pt x="457" y="533"/>
                  </a:moveTo>
                  <a:lnTo>
                    <a:pt x="478" y="645"/>
                  </a:lnTo>
                  <a:lnTo>
                    <a:pt x="108" y="645"/>
                  </a:lnTo>
                  <a:lnTo>
                    <a:pt x="111" y="616"/>
                  </a:lnTo>
                  <a:lnTo>
                    <a:pt x="111" y="616"/>
                  </a:lnTo>
                  <a:cubicBezTo>
                    <a:pt x="119" y="556"/>
                    <a:pt x="111" y="496"/>
                    <a:pt x="90" y="439"/>
                  </a:cubicBezTo>
                  <a:lnTo>
                    <a:pt x="90" y="439"/>
                  </a:lnTo>
                  <a:cubicBezTo>
                    <a:pt x="54" y="342"/>
                    <a:pt x="1" y="171"/>
                    <a:pt x="0" y="0"/>
                  </a:cubicBezTo>
                  <a:lnTo>
                    <a:pt x="513" y="111"/>
                  </a:lnTo>
                  <a:lnTo>
                    <a:pt x="547" y="356"/>
                  </a:lnTo>
                  <a:lnTo>
                    <a:pt x="547" y="356"/>
                  </a:lnTo>
                  <a:cubicBezTo>
                    <a:pt x="553" y="407"/>
                    <a:pt x="527" y="457"/>
                    <a:pt x="482" y="481"/>
                  </a:cubicBezTo>
                  <a:lnTo>
                    <a:pt x="482" y="481"/>
                  </a:lnTo>
                  <a:cubicBezTo>
                    <a:pt x="463" y="491"/>
                    <a:pt x="453" y="512"/>
                    <a:pt x="457" y="533"/>
                  </a:cubicBezTo>
                </a:path>
              </a:pathLst>
            </a:custGeom>
            <a:solidFill>
              <a:srgbClr val="8DD85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49" name="Freeform 177">
              <a:extLst>
                <a:ext uri="{FF2B5EF4-FFF2-40B4-BE49-F238E27FC236}">
                  <a16:creationId xmlns:a16="http://schemas.microsoft.com/office/drawing/2014/main" id="{D8696CB2-10BB-3227-34F8-362C6AA48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14" y="9176937"/>
              <a:ext cx="865187" cy="1286247"/>
            </a:xfrm>
            <a:custGeom>
              <a:avLst/>
              <a:gdLst>
                <a:gd name="T0" fmla="*/ 108 w 662"/>
                <a:gd name="T1" fmla="*/ 0 h 983"/>
                <a:gd name="T2" fmla="*/ 108 w 662"/>
                <a:gd name="T3" fmla="*/ 0 h 983"/>
                <a:gd name="T4" fmla="*/ 0 w 662"/>
                <a:gd name="T5" fmla="*/ 310 h 983"/>
                <a:gd name="T6" fmla="*/ 0 w 662"/>
                <a:gd name="T7" fmla="*/ 310 h 983"/>
                <a:gd name="T8" fmla="*/ 89 w 662"/>
                <a:gd name="T9" fmla="*/ 823 h 983"/>
                <a:gd name="T10" fmla="*/ 89 w 662"/>
                <a:gd name="T11" fmla="*/ 823 h 983"/>
                <a:gd name="T12" fmla="*/ 581 w 662"/>
                <a:gd name="T13" fmla="*/ 869 h 983"/>
                <a:gd name="T14" fmla="*/ 581 w 662"/>
                <a:gd name="T15" fmla="*/ 869 h 983"/>
                <a:gd name="T16" fmla="*/ 478 w 662"/>
                <a:gd name="T17" fmla="*/ 0 h 983"/>
                <a:gd name="T18" fmla="*/ 108 w 662"/>
                <a:gd name="T19" fmla="*/ 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2" h="983">
                  <a:moveTo>
                    <a:pt x="108" y="0"/>
                  </a:moveTo>
                  <a:lnTo>
                    <a:pt x="108" y="0"/>
                  </a:lnTo>
                  <a:cubicBezTo>
                    <a:pt x="108" y="0"/>
                    <a:pt x="0" y="149"/>
                    <a:pt x="0" y="310"/>
                  </a:cubicBezTo>
                  <a:lnTo>
                    <a:pt x="0" y="310"/>
                  </a:lnTo>
                  <a:cubicBezTo>
                    <a:pt x="0" y="471"/>
                    <a:pt x="89" y="548"/>
                    <a:pt x="89" y="823"/>
                  </a:cubicBezTo>
                  <a:lnTo>
                    <a:pt x="89" y="823"/>
                  </a:lnTo>
                  <a:cubicBezTo>
                    <a:pt x="89" y="823"/>
                    <a:pt x="244" y="982"/>
                    <a:pt x="581" y="869"/>
                  </a:cubicBezTo>
                  <a:lnTo>
                    <a:pt x="581" y="869"/>
                  </a:lnTo>
                  <a:cubicBezTo>
                    <a:pt x="581" y="869"/>
                    <a:pt x="661" y="451"/>
                    <a:pt x="478" y="0"/>
                  </a:cubicBezTo>
                  <a:lnTo>
                    <a:pt x="108" y="0"/>
                  </a:lnTo>
                </a:path>
              </a:pathLst>
            </a:custGeom>
            <a:solidFill>
              <a:srgbClr val="00437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50" name="Freeform 178">
              <a:extLst>
                <a:ext uri="{FF2B5EF4-FFF2-40B4-BE49-F238E27FC236}">
                  <a16:creationId xmlns:a16="http://schemas.microsoft.com/office/drawing/2014/main" id="{9CA4CDD8-4488-D745-C33F-BA6BBE98ED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7540" y="9344206"/>
              <a:ext cx="167268" cy="224947"/>
            </a:xfrm>
            <a:custGeom>
              <a:avLst/>
              <a:gdLst>
                <a:gd name="T0" fmla="*/ 82 w 130"/>
                <a:gd name="T1" fmla="*/ 6 h 173"/>
                <a:gd name="T2" fmla="*/ 82 w 130"/>
                <a:gd name="T3" fmla="*/ 6 h 173"/>
                <a:gd name="T4" fmla="*/ 45 w 130"/>
                <a:gd name="T5" fmla="*/ 23 h 173"/>
                <a:gd name="T6" fmla="*/ 45 w 130"/>
                <a:gd name="T7" fmla="*/ 23 h 173"/>
                <a:gd name="T8" fmla="*/ 11 w 130"/>
                <a:gd name="T9" fmla="*/ 86 h 173"/>
                <a:gd name="T10" fmla="*/ 11 w 130"/>
                <a:gd name="T11" fmla="*/ 86 h 173"/>
                <a:gd name="T12" fmla="*/ 36 w 130"/>
                <a:gd name="T13" fmla="*/ 125 h 173"/>
                <a:gd name="T14" fmla="*/ 36 w 130"/>
                <a:gd name="T15" fmla="*/ 125 h 173"/>
                <a:gd name="T16" fmla="*/ 67 w 130"/>
                <a:gd name="T17" fmla="*/ 171 h 173"/>
                <a:gd name="T18" fmla="*/ 67 w 130"/>
                <a:gd name="T19" fmla="*/ 171 h 173"/>
                <a:gd name="T20" fmla="*/ 125 w 130"/>
                <a:gd name="T21" fmla="*/ 113 h 173"/>
                <a:gd name="T22" fmla="*/ 125 w 130"/>
                <a:gd name="T23" fmla="*/ 113 h 173"/>
                <a:gd name="T24" fmla="*/ 82 w 130"/>
                <a:gd name="T25" fmla="*/ 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" h="173">
                  <a:moveTo>
                    <a:pt x="82" y="6"/>
                  </a:moveTo>
                  <a:lnTo>
                    <a:pt x="82" y="6"/>
                  </a:lnTo>
                  <a:cubicBezTo>
                    <a:pt x="82" y="6"/>
                    <a:pt x="73" y="0"/>
                    <a:pt x="45" y="23"/>
                  </a:cubicBezTo>
                  <a:lnTo>
                    <a:pt x="45" y="23"/>
                  </a:lnTo>
                  <a:cubicBezTo>
                    <a:pt x="35" y="32"/>
                    <a:pt x="0" y="56"/>
                    <a:pt x="11" y="86"/>
                  </a:cubicBezTo>
                  <a:lnTo>
                    <a:pt x="11" y="86"/>
                  </a:lnTo>
                  <a:cubicBezTo>
                    <a:pt x="19" y="108"/>
                    <a:pt x="36" y="125"/>
                    <a:pt x="36" y="125"/>
                  </a:cubicBezTo>
                  <a:lnTo>
                    <a:pt x="36" y="125"/>
                  </a:lnTo>
                  <a:cubicBezTo>
                    <a:pt x="36" y="125"/>
                    <a:pt x="41" y="171"/>
                    <a:pt x="67" y="171"/>
                  </a:cubicBezTo>
                  <a:lnTo>
                    <a:pt x="67" y="171"/>
                  </a:lnTo>
                  <a:cubicBezTo>
                    <a:pt x="92" y="172"/>
                    <a:pt x="120" y="163"/>
                    <a:pt x="125" y="113"/>
                  </a:cubicBezTo>
                  <a:lnTo>
                    <a:pt x="125" y="113"/>
                  </a:lnTo>
                  <a:cubicBezTo>
                    <a:pt x="129" y="58"/>
                    <a:pt x="82" y="6"/>
                    <a:pt x="82" y="6"/>
                  </a:cubicBezTo>
                </a:path>
              </a:pathLst>
            </a:custGeom>
            <a:solidFill>
              <a:srgbClr val="FBB9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51" name="Freeform 179">
              <a:extLst>
                <a:ext uri="{FF2B5EF4-FFF2-40B4-BE49-F238E27FC236}">
                  <a16:creationId xmlns:a16="http://schemas.microsoft.com/office/drawing/2014/main" id="{84577612-5BC5-8043-33FE-7B532FFCA4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9210" y="9251922"/>
              <a:ext cx="761365" cy="1211261"/>
            </a:xfrm>
            <a:custGeom>
              <a:avLst/>
              <a:gdLst>
                <a:gd name="T0" fmla="*/ 58 w 584"/>
                <a:gd name="T1" fmla="*/ 243 h 927"/>
                <a:gd name="T2" fmla="*/ 58 w 584"/>
                <a:gd name="T3" fmla="*/ 243 h 927"/>
                <a:gd name="T4" fmla="*/ 73 w 584"/>
                <a:gd name="T5" fmla="*/ 0 h 927"/>
                <a:gd name="T6" fmla="*/ 73 w 584"/>
                <a:gd name="T7" fmla="*/ 0 h 927"/>
                <a:gd name="T8" fmla="*/ 0 w 584"/>
                <a:gd name="T9" fmla="*/ 254 h 927"/>
                <a:gd name="T10" fmla="*/ 0 w 584"/>
                <a:gd name="T11" fmla="*/ 254 h 927"/>
                <a:gd name="T12" fmla="*/ 89 w 584"/>
                <a:gd name="T13" fmla="*/ 767 h 927"/>
                <a:gd name="T14" fmla="*/ 89 w 584"/>
                <a:gd name="T15" fmla="*/ 767 h 927"/>
                <a:gd name="T16" fmla="*/ 581 w 584"/>
                <a:gd name="T17" fmla="*/ 813 h 927"/>
                <a:gd name="T18" fmla="*/ 581 w 584"/>
                <a:gd name="T19" fmla="*/ 813 h 927"/>
                <a:gd name="T20" fmla="*/ 583 w 584"/>
                <a:gd name="T21" fmla="*/ 796 h 927"/>
                <a:gd name="T22" fmla="*/ 583 w 584"/>
                <a:gd name="T23" fmla="*/ 796 h 927"/>
                <a:gd name="T24" fmla="*/ 58 w 584"/>
                <a:gd name="T25" fmla="*/ 24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4" h="927">
                  <a:moveTo>
                    <a:pt x="58" y="243"/>
                  </a:moveTo>
                  <a:lnTo>
                    <a:pt x="58" y="243"/>
                  </a:lnTo>
                  <a:cubicBezTo>
                    <a:pt x="58" y="91"/>
                    <a:pt x="79" y="64"/>
                    <a:pt x="73" y="0"/>
                  </a:cubicBezTo>
                  <a:lnTo>
                    <a:pt x="73" y="0"/>
                  </a:lnTo>
                  <a:cubicBezTo>
                    <a:pt x="42" y="58"/>
                    <a:pt x="0" y="154"/>
                    <a:pt x="0" y="254"/>
                  </a:cubicBezTo>
                  <a:lnTo>
                    <a:pt x="0" y="254"/>
                  </a:lnTo>
                  <a:cubicBezTo>
                    <a:pt x="0" y="415"/>
                    <a:pt x="89" y="492"/>
                    <a:pt x="89" y="767"/>
                  </a:cubicBezTo>
                  <a:lnTo>
                    <a:pt x="89" y="767"/>
                  </a:lnTo>
                  <a:cubicBezTo>
                    <a:pt x="89" y="767"/>
                    <a:pt x="244" y="926"/>
                    <a:pt x="581" y="813"/>
                  </a:cubicBezTo>
                  <a:lnTo>
                    <a:pt x="581" y="813"/>
                  </a:lnTo>
                  <a:cubicBezTo>
                    <a:pt x="581" y="813"/>
                    <a:pt x="582" y="807"/>
                    <a:pt x="583" y="796"/>
                  </a:cubicBezTo>
                  <a:lnTo>
                    <a:pt x="583" y="796"/>
                  </a:lnTo>
                  <a:cubicBezTo>
                    <a:pt x="247" y="751"/>
                    <a:pt x="58" y="490"/>
                    <a:pt x="58" y="243"/>
                  </a:cubicBezTo>
                </a:path>
              </a:pathLst>
            </a:custGeom>
            <a:solidFill>
              <a:srgbClr val="00254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52" name="Freeform 180">
              <a:extLst>
                <a:ext uri="{FF2B5EF4-FFF2-40B4-BE49-F238E27FC236}">
                  <a16:creationId xmlns:a16="http://schemas.microsoft.com/office/drawing/2014/main" id="{F282F9BD-F3D6-EA8E-3292-BE394C3AC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8321" y="8479018"/>
              <a:ext cx="484505" cy="1032455"/>
            </a:xfrm>
            <a:custGeom>
              <a:avLst/>
              <a:gdLst>
                <a:gd name="T0" fmla="*/ 115 w 369"/>
                <a:gd name="T1" fmla="*/ 0 h 788"/>
                <a:gd name="T2" fmla="*/ 368 w 369"/>
                <a:gd name="T3" fmla="*/ 499 h 788"/>
                <a:gd name="T4" fmla="*/ 368 w 369"/>
                <a:gd name="T5" fmla="*/ 499 h 788"/>
                <a:gd name="T6" fmla="*/ 177 w 369"/>
                <a:gd name="T7" fmla="*/ 787 h 788"/>
                <a:gd name="T8" fmla="*/ 177 w 369"/>
                <a:gd name="T9" fmla="*/ 787 h 788"/>
                <a:gd name="T10" fmla="*/ 124 w 369"/>
                <a:gd name="T11" fmla="*/ 695 h 788"/>
                <a:gd name="T12" fmla="*/ 202 w 369"/>
                <a:gd name="T13" fmla="*/ 509 h 788"/>
                <a:gd name="T14" fmla="*/ 202 w 369"/>
                <a:gd name="T15" fmla="*/ 509 h 788"/>
                <a:gd name="T16" fmla="*/ 48 w 369"/>
                <a:gd name="T17" fmla="*/ 262 h 788"/>
                <a:gd name="T18" fmla="*/ 48 w 369"/>
                <a:gd name="T19" fmla="*/ 262 h 788"/>
                <a:gd name="T20" fmla="*/ 115 w 369"/>
                <a:gd name="T21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9" h="788">
                  <a:moveTo>
                    <a:pt x="115" y="0"/>
                  </a:moveTo>
                  <a:lnTo>
                    <a:pt x="368" y="499"/>
                  </a:lnTo>
                  <a:lnTo>
                    <a:pt x="368" y="499"/>
                  </a:lnTo>
                  <a:cubicBezTo>
                    <a:pt x="368" y="499"/>
                    <a:pt x="340" y="656"/>
                    <a:pt x="177" y="787"/>
                  </a:cubicBezTo>
                  <a:lnTo>
                    <a:pt x="177" y="787"/>
                  </a:lnTo>
                  <a:cubicBezTo>
                    <a:pt x="177" y="787"/>
                    <a:pt x="104" y="774"/>
                    <a:pt x="124" y="695"/>
                  </a:cubicBezTo>
                  <a:lnTo>
                    <a:pt x="202" y="509"/>
                  </a:lnTo>
                  <a:lnTo>
                    <a:pt x="202" y="509"/>
                  </a:lnTo>
                  <a:cubicBezTo>
                    <a:pt x="202" y="509"/>
                    <a:pt x="72" y="362"/>
                    <a:pt x="48" y="262"/>
                  </a:cubicBezTo>
                  <a:lnTo>
                    <a:pt x="48" y="262"/>
                  </a:lnTo>
                  <a:cubicBezTo>
                    <a:pt x="0" y="60"/>
                    <a:pt x="115" y="0"/>
                    <a:pt x="115" y="0"/>
                  </a:cubicBezTo>
                </a:path>
              </a:pathLst>
            </a:custGeom>
            <a:solidFill>
              <a:srgbClr val="82C55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53" name="Freeform 93">
              <a:extLst>
                <a:ext uri="{FF2B5EF4-FFF2-40B4-BE49-F238E27FC236}">
                  <a16:creationId xmlns:a16="http://schemas.microsoft.com/office/drawing/2014/main" id="{22A3CF0E-4E48-790D-D75D-D5E5FE0F8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6702" y="7677275"/>
              <a:ext cx="656983" cy="913060"/>
            </a:xfrm>
            <a:custGeom>
              <a:avLst/>
              <a:gdLst>
                <a:gd name="connsiteX0" fmla="*/ 324768 w 625675"/>
                <a:gd name="connsiteY0" fmla="*/ 0 h 869548"/>
                <a:gd name="connsiteX1" fmla="*/ 407248 w 625675"/>
                <a:gd name="connsiteY1" fmla="*/ 17325 h 869548"/>
                <a:gd name="connsiteX2" fmla="*/ 440882 w 625675"/>
                <a:gd name="connsiteY2" fmla="*/ 40946 h 869548"/>
                <a:gd name="connsiteX3" fmla="*/ 450265 w 625675"/>
                <a:gd name="connsiteY3" fmla="*/ 38457 h 869548"/>
                <a:gd name="connsiteX4" fmla="*/ 601593 w 625675"/>
                <a:gd name="connsiteY4" fmla="*/ 101627 h 869548"/>
                <a:gd name="connsiteX5" fmla="*/ 591588 w 625675"/>
                <a:gd name="connsiteY5" fmla="*/ 288660 h 869548"/>
                <a:gd name="connsiteX6" fmla="*/ 516549 w 625675"/>
                <a:gd name="connsiteY6" fmla="*/ 201956 h 869548"/>
                <a:gd name="connsiteX7" fmla="*/ 515376 w 625675"/>
                <a:gd name="connsiteY7" fmla="*/ 201759 h 869548"/>
                <a:gd name="connsiteX8" fmla="*/ 514093 w 625675"/>
                <a:gd name="connsiteY8" fmla="*/ 212793 h 869548"/>
                <a:gd name="connsiteX9" fmla="*/ 256263 w 625675"/>
                <a:gd name="connsiteY9" fmla="*/ 854906 h 869548"/>
                <a:gd name="connsiteX10" fmla="*/ 113024 w 625675"/>
                <a:gd name="connsiteY10" fmla="*/ 211549 h 869548"/>
                <a:gd name="connsiteX11" fmla="*/ 324768 w 625675"/>
                <a:gd name="connsiteY11" fmla="*/ 0 h 869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5675" h="869548">
                  <a:moveTo>
                    <a:pt x="324768" y="0"/>
                  </a:moveTo>
                  <a:cubicBezTo>
                    <a:pt x="353728" y="0"/>
                    <a:pt x="381830" y="6222"/>
                    <a:pt x="407248" y="17325"/>
                  </a:cubicBezTo>
                  <a:lnTo>
                    <a:pt x="440882" y="40946"/>
                  </a:lnTo>
                  <a:lnTo>
                    <a:pt x="450265" y="38457"/>
                  </a:lnTo>
                  <a:cubicBezTo>
                    <a:pt x="527805" y="38457"/>
                    <a:pt x="579081" y="65707"/>
                    <a:pt x="601593" y="101627"/>
                  </a:cubicBezTo>
                  <a:cubicBezTo>
                    <a:pt x="629107" y="143741"/>
                    <a:pt x="641613" y="288660"/>
                    <a:pt x="591588" y="288660"/>
                  </a:cubicBezTo>
                  <a:cubicBezTo>
                    <a:pt x="531557" y="289899"/>
                    <a:pt x="540312" y="203195"/>
                    <a:pt x="516549" y="201956"/>
                  </a:cubicBezTo>
                  <a:lnTo>
                    <a:pt x="515376" y="201759"/>
                  </a:lnTo>
                  <a:lnTo>
                    <a:pt x="514093" y="212793"/>
                  </a:lnTo>
                  <a:cubicBezTo>
                    <a:pt x="383310" y="735443"/>
                    <a:pt x="756976" y="927082"/>
                    <a:pt x="256263" y="854906"/>
                  </a:cubicBezTo>
                  <a:cubicBezTo>
                    <a:pt x="-219540" y="786464"/>
                    <a:pt x="113024" y="598559"/>
                    <a:pt x="113024" y="211549"/>
                  </a:cubicBezTo>
                  <a:cubicBezTo>
                    <a:pt x="113024" y="94575"/>
                    <a:pt x="207686" y="0"/>
                    <a:pt x="32476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3599">
                <a:latin typeface="Poppins" pitchFamily="2" charset="77"/>
              </a:endParaRPr>
            </a:p>
          </p:txBody>
        </p:sp>
        <p:sp>
          <p:nvSpPr>
            <p:cNvPr id="154" name="Freeform 182">
              <a:extLst>
                <a:ext uri="{FF2B5EF4-FFF2-40B4-BE49-F238E27FC236}">
                  <a16:creationId xmlns:a16="http://schemas.microsoft.com/office/drawing/2014/main" id="{8F43674E-FBA5-133D-DB8F-171D9D566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5356" y="7775332"/>
              <a:ext cx="311467" cy="230717"/>
            </a:xfrm>
            <a:custGeom>
              <a:avLst/>
              <a:gdLst>
                <a:gd name="T0" fmla="*/ 0 w 239"/>
                <a:gd name="T1" fmla="*/ 94 h 177"/>
                <a:gd name="T2" fmla="*/ 81 w 239"/>
                <a:gd name="T3" fmla="*/ 23 h 177"/>
                <a:gd name="T4" fmla="*/ 81 w 239"/>
                <a:gd name="T5" fmla="*/ 23 h 177"/>
                <a:gd name="T6" fmla="*/ 177 w 239"/>
                <a:gd name="T7" fmla="*/ 5 h 177"/>
                <a:gd name="T8" fmla="*/ 177 w 239"/>
                <a:gd name="T9" fmla="*/ 5 h 177"/>
                <a:gd name="T10" fmla="*/ 168 w 239"/>
                <a:gd name="T11" fmla="*/ 24 h 177"/>
                <a:gd name="T12" fmla="*/ 168 w 239"/>
                <a:gd name="T13" fmla="*/ 24 h 177"/>
                <a:gd name="T14" fmla="*/ 217 w 239"/>
                <a:gd name="T15" fmla="*/ 17 h 177"/>
                <a:gd name="T16" fmla="*/ 217 w 239"/>
                <a:gd name="T17" fmla="*/ 17 h 177"/>
                <a:gd name="T18" fmla="*/ 188 w 239"/>
                <a:gd name="T19" fmla="*/ 42 h 177"/>
                <a:gd name="T20" fmla="*/ 188 w 239"/>
                <a:gd name="T21" fmla="*/ 42 h 177"/>
                <a:gd name="T22" fmla="*/ 237 w 239"/>
                <a:gd name="T23" fmla="*/ 38 h 177"/>
                <a:gd name="T24" fmla="*/ 237 w 239"/>
                <a:gd name="T25" fmla="*/ 38 h 177"/>
                <a:gd name="T26" fmla="*/ 190 w 239"/>
                <a:gd name="T27" fmla="*/ 69 h 177"/>
                <a:gd name="T28" fmla="*/ 190 w 239"/>
                <a:gd name="T29" fmla="*/ 69 h 177"/>
                <a:gd name="T30" fmla="*/ 233 w 239"/>
                <a:gd name="T31" fmla="*/ 61 h 177"/>
                <a:gd name="T32" fmla="*/ 233 w 239"/>
                <a:gd name="T33" fmla="*/ 61 h 177"/>
                <a:gd name="T34" fmla="*/ 157 w 239"/>
                <a:gd name="T35" fmla="*/ 102 h 177"/>
                <a:gd name="T36" fmla="*/ 128 w 239"/>
                <a:gd name="T37" fmla="*/ 130 h 177"/>
                <a:gd name="T38" fmla="*/ 153 w 239"/>
                <a:gd name="T39" fmla="*/ 141 h 177"/>
                <a:gd name="T40" fmla="*/ 153 w 239"/>
                <a:gd name="T41" fmla="*/ 141 h 177"/>
                <a:gd name="T42" fmla="*/ 199 w 239"/>
                <a:gd name="T43" fmla="*/ 140 h 177"/>
                <a:gd name="T44" fmla="*/ 164 w 239"/>
                <a:gd name="T45" fmla="*/ 166 h 177"/>
                <a:gd name="T46" fmla="*/ 110 w 239"/>
                <a:gd name="T47" fmla="*/ 173 h 177"/>
                <a:gd name="T48" fmla="*/ 73 w 239"/>
                <a:gd name="T49" fmla="*/ 158 h 177"/>
                <a:gd name="T50" fmla="*/ 54 w 239"/>
                <a:gd name="T51" fmla="*/ 176 h 177"/>
                <a:gd name="T52" fmla="*/ 0 w 239"/>
                <a:gd name="T53" fmla="*/ 94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9" h="177">
                  <a:moveTo>
                    <a:pt x="0" y="94"/>
                  </a:moveTo>
                  <a:lnTo>
                    <a:pt x="81" y="23"/>
                  </a:lnTo>
                  <a:lnTo>
                    <a:pt x="81" y="23"/>
                  </a:lnTo>
                  <a:cubicBezTo>
                    <a:pt x="81" y="23"/>
                    <a:pt x="172" y="0"/>
                    <a:pt x="177" y="5"/>
                  </a:cubicBezTo>
                  <a:lnTo>
                    <a:pt x="177" y="5"/>
                  </a:lnTo>
                  <a:cubicBezTo>
                    <a:pt x="184" y="13"/>
                    <a:pt x="168" y="24"/>
                    <a:pt x="168" y="24"/>
                  </a:cubicBezTo>
                  <a:lnTo>
                    <a:pt x="168" y="24"/>
                  </a:lnTo>
                  <a:cubicBezTo>
                    <a:pt x="168" y="24"/>
                    <a:pt x="220" y="4"/>
                    <a:pt x="217" y="17"/>
                  </a:cubicBezTo>
                  <a:lnTo>
                    <a:pt x="217" y="17"/>
                  </a:lnTo>
                  <a:cubicBezTo>
                    <a:pt x="215" y="27"/>
                    <a:pt x="188" y="42"/>
                    <a:pt x="188" y="42"/>
                  </a:cubicBezTo>
                  <a:lnTo>
                    <a:pt x="188" y="42"/>
                  </a:lnTo>
                  <a:cubicBezTo>
                    <a:pt x="188" y="42"/>
                    <a:pt x="238" y="28"/>
                    <a:pt x="237" y="38"/>
                  </a:cubicBezTo>
                  <a:lnTo>
                    <a:pt x="237" y="38"/>
                  </a:lnTo>
                  <a:cubicBezTo>
                    <a:pt x="233" y="52"/>
                    <a:pt x="190" y="69"/>
                    <a:pt x="190" y="69"/>
                  </a:cubicBezTo>
                  <a:lnTo>
                    <a:pt x="190" y="69"/>
                  </a:lnTo>
                  <a:cubicBezTo>
                    <a:pt x="190" y="69"/>
                    <a:pt x="237" y="54"/>
                    <a:pt x="233" y="61"/>
                  </a:cubicBezTo>
                  <a:lnTo>
                    <a:pt x="233" y="61"/>
                  </a:lnTo>
                  <a:cubicBezTo>
                    <a:pt x="221" y="87"/>
                    <a:pt x="157" y="102"/>
                    <a:pt x="157" y="102"/>
                  </a:cubicBezTo>
                  <a:lnTo>
                    <a:pt x="128" y="130"/>
                  </a:lnTo>
                  <a:lnTo>
                    <a:pt x="153" y="141"/>
                  </a:lnTo>
                  <a:lnTo>
                    <a:pt x="153" y="141"/>
                  </a:lnTo>
                  <a:cubicBezTo>
                    <a:pt x="153" y="141"/>
                    <a:pt x="183" y="123"/>
                    <a:pt x="199" y="140"/>
                  </a:cubicBezTo>
                  <a:lnTo>
                    <a:pt x="164" y="166"/>
                  </a:lnTo>
                  <a:lnTo>
                    <a:pt x="110" y="173"/>
                  </a:lnTo>
                  <a:lnTo>
                    <a:pt x="73" y="158"/>
                  </a:lnTo>
                  <a:lnTo>
                    <a:pt x="54" y="176"/>
                  </a:lnTo>
                  <a:lnTo>
                    <a:pt x="0" y="94"/>
                  </a:lnTo>
                </a:path>
              </a:pathLst>
            </a:custGeom>
            <a:solidFill>
              <a:srgbClr val="FBB98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599">
                <a:latin typeface="Poppins" pitchFamily="2" charset="77"/>
              </a:endParaRPr>
            </a:p>
          </p:txBody>
        </p: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3DE4343F-0231-D51A-07EA-43601A2F9E0D}"/>
              </a:ext>
            </a:extLst>
          </p:cNvPr>
          <p:cNvSpPr txBox="1"/>
          <p:nvPr/>
        </p:nvSpPr>
        <p:spPr>
          <a:xfrm>
            <a:off x="376675" y="1641690"/>
            <a:ext cx="60944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Statistics of cybersecurity TRAINED </a:t>
            </a:r>
            <a:r>
              <a:rPr lang="en-US" sz="1800" dirty="0">
                <a:solidFill>
                  <a:schemeClr val="bg2"/>
                </a:solidFill>
              </a:rPr>
              <a:t>end users</a:t>
            </a:r>
            <a:r>
              <a:rPr lang="en-US" dirty="0">
                <a:solidFill>
                  <a:schemeClr val="bg2"/>
                </a:solidFill>
              </a:rPr>
              <a:t> </a:t>
            </a:r>
            <a:r>
              <a:rPr lang="en-US" dirty="0"/>
              <a:t>regarding Phishing Attacks:</a:t>
            </a:r>
            <a:endParaRPr lang="es-US" sz="1800" dirty="0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EA73B089-4B1D-6F12-DA10-C49290F76B9A}"/>
              </a:ext>
            </a:extLst>
          </p:cNvPr>
          <p:cNvSpPr txBox="1"/>
          <p:nvPr/>
        </p:nvSpPr>
        <p:spPr>
          <a:xfrm>
            <a:off x="730243" y="2508545"/>
            <a:ext cx="46921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Only </a:t>
            </a:r>
            <a:r>
              <a:rPr lang="en-US" sz="1800" b="1" dirty="0">
                <a:solidFill>
                  <a:srgbClr val="FF4101"/>
                </a:solidFill>
              </a:rPr>
              <a:t>3%</a:t>
            </a:r>
            <a:r>
              <a:rPr lang="en-US" sz="1800" b="1" dirty="0"/>
              <a:t> </a:t>
            </a:r>
            <a:r>
              <a:rPr lang="en-US" sz="1800" dirty="0"/>
              <a:t>of users that received a phishing email reported it to superiors or IT.</a:t>
            </a:r>
            <a:endParaRPr lang="es-US" sz="1800" dirty="0"/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3F136A33-7B3C-4470-C162-A26CF264D314}"/>
              </a:ext>
            </a:extLst>
          </p:cNvPr>
          <p:cNvSpPr txBox="1"/>
          <p:nvPr/>
        </p:nvSpPr>
        <p:spPr>
          <a:xfrm>
            <a:off x="736478" y="3282213"/>
            <a:ext cx="46921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FF4101"/>
                </a:solidFill>
              </a:rPr>
              <a:t>30% </a:t>
            </a:r>
            <a:r>
              <a:rPr lang="en-US" sz="1800" dirty="0"/>
              <a:t>of phishing emails are opened by the receiver.</a:t>
            </a:r>
            <a:endParaRPr lang="es-US" sz="1800" dirty="0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7A9A96A-F1E6-77E9-F4B5-62146ABA00A1}"/>
              </a:ext>
            </a:extLst>
          </p:cNvPr>
          <p:cNvSpPr txBox="1"/>
          <p:nvPr/>
        </p:nvSpPr>
        <p:spPr>
          <a:xfrm>
            <a:off x="736631" y="4000921"/>
            <a:ext cx="46921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FF4101"/>
                </a:solidFill>
              </a:rPr>
              <a:t>12% </a:t>
            </a:r>
            <a:r>
              <a:rPr lang="en-US" sz="1800" dirty="0"/>
              <a:t>of users clicked on a malicious link inside a phishing email.</a:t>
            </a:r>
            <a:endParaRPr lang="es-US" sz="1800" dirty="0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04D3AC60-321A-127B-F64C-C11117EF04A7}"/>
              </a:ext>
            </a:extLst>
          </p:cNvPr>
          <p:cNvSpPr txBox="1"/>
          <p:nvPr/>
        </p:nvSpPr>
        <p:spPr>
          <a:xfrm>
            <a:off x="729912" y="4775120"/>
            <a:ext cx="46921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FF4101"/>
                </a:solidFill>
              </a:rPr>
              <a:t>85% </a:t>
            </a:r>
            <a:r>
              <a:rPr lang="en-US" sz="1800" dirty="0"/>
              <a:t>of organizations confirmed an attack after a clicked malicious link.</a:t>
            </a:r>
            <a:endParaRPr lang="es-US" sz="1800" dirty="0"/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E5322D4-9902-2846-C342-53C80D1EA6C2}"/>
              </a:ext>
            </a:extLst>
          </p:cNvPr>
          <p:cNvSpPr txBox="1"/>
          <p:nvPr/>
        </p:nvSpPr>
        <p:spPr>
          <a:xfrm>
            <a:off x="729912" y="5548788"/>
            <a:ext cx="469214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ll above </a:t>
            </a:r>
            <a:r>
              <a:rPr lang="en-US" dirty="0"/>
              <a:t>happens e</a:t>
            </a:r>
            <a:r>
              <a:rPr lang="en-US" sz="1800" dirty="0"/>
              <a:t>ven though </a:t>
            </a:r>
            <a:r>
              <a:rPr lang="en-US" sz="1800" b="1" dirty="0">
                <a:solidFill>
                  <a:srgbClr val="FF4101"/>
                </a:solidFill>
              </a:rPr>
              <a:t>78%</a:t>
            </a:r>
            <a:r>
              <a:rPr lang="en-US" sz="1800" b="1" dirty="0"/>
              <a:t> </a:t>
            </a:r>
            <a:r>
              <a:rPr lang="en-US" sz="1800" dirty="0"/>
              <a:t>of users say they are aware of the phishing threat.</a:t>
            </a:r>
            <a:endParaRPr lang="es-US" sz="1800" dirty="0"/>
          </a:p>
        </p:txBody>
      </p:sp>
    </p:spTree>
    <p:extLst>
      <p:ext uri="{BB962C8B-B14F-4D97-AF65-F5344CB8AC3E}">
        <p14:creationId xmlns:p14="http://schemas.microsoft.com/office/powerpoint/2010/main" val="24264776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157" grpId="0"/>
      <p:bldP spid="158" grpId="0"/>
      <p:bldP spid="159" grpId="0"/>
      <p:bldP spid="160" grpId="0"/>
      <p:bldP spid="161" grpId="0"/>
      <p:bldP spid="16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4D61819A-30C5-A457-17A6-855F7413EBBA}"/>
              </a:ext>
            </a:extLst>
          </p:cNvPr>
          <p:cNvSpPr txBox="1">
            <a:spLocks/>
          </p:cNvSpPr>
          <p:nvPr/>
        </p:nvSpPr>
        <p:spPr>
          <a:xfrm>
            <a:off x="311873" y="207732"/>
            <a:ext cx="9966660" cy="4644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THE SECOND PROBLEM WITH PEOPLE IS…</a:t>
            </a:r>
            <a:endParaRPr lang="es-US" dirty="0"/>
          </a:p>
        </p:txBody>
      </p:sp>
      <p:sp>
        <p:nvSpPr>
          <p:cNvPr id="49" name="Subtitle 7">
            <a:extLst>
              <a:ext uri="{FF2B5EF4-FFF2-40B4-BE49-F238E27FC236}">
                <a16:creationId xmlns:a16="http://schemas.microsoft.com/office/drawing/2014/main" id="{76D0D272-256C-CC5D-662C-40209C2E0E2B}"/>
              </a:ext>
            </a:extLst>
          </p:cNvPr>
          <p:cNvSpPr txBox="1">
            <a:spLocks/>
          </p:cNvSpPr>
          <p:nvPr/>
        </p:nvSpPr>
        <p:spPr>
          <a:xfrm>
            <a:off x="311872" y="737990"/>
            <a:ext cx="7975987" cy="29838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0" i="0" kern="1200" baseline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at people are HUMANS and humans do not reproduce fast enough</a:t>
            </a:r>
            <a:endParaRPr lang="es-US" dirty="0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3DE4343F-0231-D51A-07EA-43601A2F9E0D}"/>
              </a:ext>
            </a:extLst>
          </p:cNvPr>
          <p:cNvSpPr txBox="1"/>
          <p:nvPr/>
        </p:nvSpPr>
        <p:spPr>
          <a:xfrm>
            <a:off x="376675" y="1641690"/>
            <a:ext cx="50519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There </a:t>
            </a:r>
            <a:r>
              <a:rPr lang="en-US" dirty="0"/>
              <a:t>is a critical shortage of specialized cybersecurity talent in the world:</a:t>
            </a:r>
            <a:endParaRPr lang="es-US" sz="1800" dirty="0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EA73B089-4B1D-6F12-DA10-C49290F76B9A}"/>
              </a:ext>
            </a:extLst>
          </p:cNvPr>
          <p:cNvSpPr txBox="1"/>
          <p:nvPr/>
        </p:nvSpPr>
        <p:spPr>
          <a:xfrm>
            <a:off x="730243" y="2508545"/>
            <a:ext cx="46921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2011 cybersecurity job openings exceeded the qualified personnel offer.</a:t>
            </a:r>
            <a:endParaRPr lang="es-US" sz="1800" dirty="0"/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3F136A33-7B3C-4470-C162-A26CF264D314}"/>
              </a:ext>
            </a:extLst>
          </p:cNvPr>
          <p:cNvSpPr txBox="1"/>
          <p:nvPr/>
        </p:nvSpPr>
        <p:spPr>
          <a:xfrm>
            <a:off x="736478" y="3282213"/>
            <a:ext cx="46921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The number of unfilled positions globally grew by </a:t>
            </a:r>
            <a:r>
              <a:rPr lang="en-US" sz="1800" b="1" dirty="0">
                <a:solidFill>
                  <a:srgbClr val="FF4101"/>
                </a:solidFill>
              </a:rPr>
              <a:t>350% </a:t>
            </a:r>
            <a:r>
              <a:rPr lang="en-US" sz="1800" dirty="0"/>
              <a:t>over the past 8 years.</a:t>
            </a:r>
            <a:endParaRPr lang="es-US" sz="1800" dirty="0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7A9A96A-F1E6-77E9-F4B5-62146ABA00A1}"/>
              </a:ext>
            </a:extLst>
          </p:cNvPr>
          <p:cNvSpPr txBox="1"/>
          <p:nvPr/>
        </p:nvSpPr>
        <p:spPr>
          <a:xfrm>
            <a:off x="736631" y="4000921"/>
            <a:ext cx="46921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shortfall of skilled workers is estimated in </a:t>
            </a:r>
            <a:r>
              <a:rPr lang="en-US" b="1" dirty="0">
                <a:solidFill>
                  <a:srgbClr val="FF4101"/>
                </a:solidFill>
              </a:rPr>
              <a:t>2.72</a:t>
            </a:r>
            <a:r>
              <a:rPr lang="en-US" dirty="0"/>
              <a:t> million.</a:t>
            </a:r>
            <a:endParaRPr lang="es-US" sz="1800" dirty="0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04D3AC60-321A-127B-F64C-C11117EF04A7}"/>
              </a:ext>
            </a:extLst>
          </p:cNvPr>
          <p:cNvSpPr txBox="1"/>
          <p:nvPr/>
        </p:nvSpPr>
        <p:spPr>
          <a:xfrm>
            <a:off x="729912" y="4775120"/>
            <a:ext cx="46921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illennials and Gen Z (&lt;39yo) represent </a:t>
            </a:r>
            <a:r>
              <a:rPr lang="en-US" dirty="0">
                <a:solidFill>
                  <a:schemeClr val="bg2"/>
                </a:solidFill>
              </a:rPr>
              <a:t>39%</a:t>
            </a:r>
            <a:r>
              <a:rPr lang="en-US" dirty="0"/>
              <a:t> of the workforce.</a:t>
            </a:r>
            <a:endParaRPr lang="es-US" sz="1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B5DE4C-7761-05F3-3C6F-30ADC50BC072}"/>
              </a:ext>
            </a:extLst>
          </p:cNvPr>
          <p:cNvSpPr txBox="1"/>
          <p:nvPr/>
        </p:nvSpPr>
        <p:spPr>
          <a:xfrm>
            <a:off x="2257778" y="6558844"/>
            <a:ext cx="331893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s-US" sz="2800" dirty="0">
              <a:solidFill>
                <a:schemeClr val="tx1"/>
              </a:solidFill>
            </a:endParaRP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92DE4F9A-5B0C-95A0-07C5-8D7FBCBDE655}"/>
              </a:ext>
            </a:extLst>
          </p:cNvPr>
          <p:cNvSpPr txBox="1"/>
          <p:nvPr/>
        </p:nvSpPr>
        <p:spPr>
          <a:xfrm>
            <a:off x="601619" y="6501774"/>
            <a:ext cx="6152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US" sz="1100" i="1" dirty="0" err="1"/>
              <a:t>Source</a:t>
            </a:r>
            <a:r>
              <a:rPr lang="es-US" sz="1100" i="1" dirty="0"/>
              <a:t>: </a:t>
            </a:r>
            <a:r>
              <a:rPr lang="es-US" sz="1100" i="1" dirty="0" err="1"/>
              <a:t>Cybersecurity</a:t>
            </a:r>
            <a:r>
              <a:rPr lang="es-US" sz="1100" i="1" dirty="0"/>
              <a:t> </a:t>
            </a:r>
            <a:r>
              <a:rPr lang="es-US" sz="1100" i="1" dirty="0" err="1"/>
              <a:t>Workforce</a:t>
            </a:r>
            <a:r>
              <a:rPr lang="es-US" sz="1100" i="1" dirty="0"/>
              <a:t> </a:t>
            </a:r>
            <a:r>
              <a:rPr lang="es-US" sz="1100" i="1" dirty="0" err="1"/>
              <a:t>Study</a:t>
            </a:r>
            <a:r>
              <a:rPr lang="es-US" sz="1100" i="1" dirty="0"/>
              <a:t> 2021</a:t>
            </a:r>
          </a:p>
        </p:txBody>
      </p:sp>
      <p:pic>
        <p:nvPicPr>
          <p:cNvPr id="23" name="Picture 22" descr="Chart, bar chart&#10;&#10;Description automatically generated">
            <a:extLst>
              <a:ext uri="{FF2B5EF4-FFF2-40B4-BE49-F238E27FC236}">
                <a16:creationId xmlns:a16="http://schemas.microsoft.com/office/drawing/2014/main" id="{700462F1-FCD8-CA44-2991-13819D8996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605" b="5140"/>
          <a:stretch/>
        </p:blipFill>
        <p:spPr>
          <a:xfrm>
            <a:off x="5961972" y="1589006"/>
            <a:ext cx="5051952" cy="5268994"/>
          </a:xfrm>
          <a:prstGeom prst="rect">
            <a:avLst/>
          </a:prstGeom>
        </p:spPr>
      </p:pic>
      <p:pic>
        <p:nvPicPr>
          <p:cNvPr id="223" name="Picture 222" descr="Chart, bar chart&#10;&#10;Description automatically generated">
            <a:extLst>
              <a:ext uri="{FF2B5EF4-FFF2-40B4-BE49-F238E27FC236}">
                <a16:creationId xmlns:a16="http://schemas.microsoft.com/office/drawing/2014/main" id="{FB7747D6-2676-9C5C-99A5-0A003B13FC8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857" t="12089" r="29182" b="80826"/>
          <a:stretch/>
        </p:blipFill>
        <p:spPr>
          <a:xfrm>
            <a:off x="10240634" y="5452401"/>
            <a:ext cx="1546579" cy="4547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29B740C-E9BB-6C77-C11D-CC604931364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94117"/>
          <a:stretch/>
        </p:blipFill>
        <p:spPr>
          <a:xfrm>
            <a:off x="6928725" y="1250788"/>
            <a:ext cx="4694327" cy="338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002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157" grpId="0"/>
      <p:bldP spid="158" grpId="0"/>
      <p:bldP spid="159" grpId="0"/>
      <p:bldP spid="160" grpId="0"/>
      <p:bldP spid="16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4D61819A-30C5-A457-17A6-855F7413EBBA}"/>
              </a:ext>
            </a:extLst>
          </p:cNvPr>
          <p:cNvSpPr txBox="1">
            <a:spLocks/>
          </p:cNvSpPr>
          <p:nvPr/>
        </p:nvSpPr>
        <p:spPr>
          <a:xfrm>
            <a:off x="311873" y="207732"/>
            <a:ext cx="9966660" cy="4644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HOW DO WE SOLVE THESE PROBLEMS?</a:t>
            </a:r>
            <a:endParaRPr lang="es-US" dirty="0"/>
          </a:p>
        </p:txBody>
      </p:sp>
      <p:sp>
        <p:nvSpPr>
          <p:cNvPr id="49" name="Subtitle 7">
            <a:extLst>
              <a:ext uri="{FF2B5EF4-FFF2-40B4-BE49-F238E27FC236}">
                <a16:creationId xmlns:a16="http://schemas.microsoft.com/office/drawing/2014/main" id="{76D0D272-256C-CC5D-662C-40209C2E0E2B}"/>
              </a:ext>
            </a:extLst>
          </p:cNvPr>
          <p:cNvSpPr txBox="1">
            <a:spLocks/>
          </p:cNvSpPr>
          <p:nvPr/>
        </p:nvSpPr>
        <p:spPr>
          <a:xfrm>
            <a:off x="311872" y="737990"/>
            <a:ext cx="7975987" cy="29838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0" i="0" kern="1200" baseline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way HUMANS do… TOGETHER!</a:t>
            </a:r>
            <a:endParaRPr lang="es-US" dirty="0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3DE4343F-0231-D51A-07EA-43601A2F9E0D}"/>
              </a:ext>
            </a:extLst>
          </p:cNvPr>
          <p:cNvSpPr txBox="1"/>
          <p:nvPr/>
        </p:nvSpPr>
        <p:spPr>
          <a:xfrm>
            <a:off x="376675" y="1641690"/>
            <a:ext cx="53969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ll of us are responsible for closing the gap… again… TOGETHER!</a:t>
            </a:r>
            <a:endParaRPr lang="es-US" sz="1800" dirty="0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EA73B089-4B1D-6F12-DA10-C49290F76B9A}"/>
              </a:ext>
            </a:extLst>
          </p:cNvPr>
          <p:cNvSpPr txBox="1"/>
          <p:nvPr/>
        </p:nvSpPr>
        <p:spPr>
          <a:xfrm>
            <a:off x="730243" y="2508545"/>
            <a:ext cx="50519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ke cybersecurity part of your life… it already is.</a:t>
            </a:r>
            <a:endParaRPr lang="es-US" sz="1800" dirty="0"/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3F136A33-7B3C-4470-C162-A26CF264D314}"/>
              </a:ext>
            </a:extLst>
          </p:cNvPr>
          <p:cNvSpPr txBox="1"/>
          <p:nvPr/>
        </p:nvSpPr>
        <p:spPr>
          <a:xfrm>
            <a:off x="736478" y="3282213"/>
            <a:ext cx="53969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Keep cybersecurity education as a top priority, for </a:t>
            </a:r>
            <a:r>
              <a:rPr lang="en-US" sz="1800" b="1" dirty="0">
                <a:solidFill>
                  <a:schemeClr val="bg2"/>
                </a:solidFill>
              </a:rPr>
              <a:t>everyone</a:t>
            </a:r>
            <a:r>
              <a:rPr lang="en-US" sz="1800" dirty="0"/>
              <a:t>. </a:t>
            </a:r>
            <a:endParaRPr lang="es-US" sz="1800" dirty="0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7A9A96A-F1E6-77E9-F4B5-62146ABA00A1}"/>
              </a:ext>
            </a:extLst>
          </p:cNvPr>
          <p:cNvSpPr txBox="1"/>
          <p:nvPr/>
        </p:nvSpPr>
        <p:spPr>
          <a:xfrm>
            <a:off x="736631" y="4000921"/>
            <a:ext cx="55399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Equality</a:t>
            </a:r>
            <a:r>
              <a:rPr lang="en-US" dirty="0"/>
              <a:t>, Diversity &amp; Inclusion is a critical component of the solution. </a:t>
            </a:r>
            <a:endParaRPr lang="es-US" sz="1800" dirty="0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04D3AC60-321A-127B-F64C-C11117EF04A7}"/>
              </a:ext>
            </a:extLst>
          </p:cNvPr>
          <p:cNvSpPr txBox="1"/>
          <p:nvPr/>
        </p:nvSpPr>
        <p:spPr>
          <a:xfrm>
            <a:off x="729912" y="4775120"/>
            <a:ext cx="46921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mbrace Work-From-Home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B5DE4C-7761-05F3-3C6F-30ADC50BC072}"/>
              </a:ext>
            </a:extLst>
          </p:cNvPr>
          <p:cNvSpPr txBox="1"/>
          <p:nvPr/>
        </p:nvSpPr>
        <p:spPr>
          <a:xfrm>
            <a:off x="2257778" y="6558844"/>
            <a:ext cx="331893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s-US" sz="28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73AC20-77A6-FC57-EEB2-FDA34EDCED23}"/>
              </a:ext>
            </a:extLst>
          </p:cNvPr>
          <p:cNvSpPr txBox="1"/>
          <p:nvPr/>
        </p:nvSpPr>
        <p:spPr>
          <a:xfrm>
            <a:off x="729911" y="5364122"/>
            <a:ext cx="52644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re people </a:t>
            </a:r>
            <a:r>
              <a:rPr lang="en-US" dirty="0">
                <a:solidFill>
                  <a:schemeClr val="bg2"/>
                </a:solidFill>
              </a:rPr>
              <a:t>without</a:t>
            </a:r>
            <a:r>
              <a:rPr lang="en-US" dirty="0"/>
              <a:t> cybersecurity skills but are good problem solvers and are eager to learn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4232026-3DE3-1C28-D8D0-F8284A241F34}"/>
              </a:ext>
            </a:extLst>
          </p:cNvPr>
          <p:cNvGrpSpPr/>
          <p:nvPr/>
        </p:nvGrpSpPr>
        <p:grpSpPr>
          <a:xfrm>
            <a:off x="6938943" y="1171011"/>
            <a:ext cx="3198598" cy="4948999"/>
            <a:chOff x="6769610" y="1127457"/>
            <a:chExt cx="3198598" cy="4948999"/>
          </a:xfrm>
        </p:grpSpPr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126286DA-7980-3764-DE9E-1FC5E3D43AB7}"/>
                </a:ext>
              </a:extLst>
            </p:cNvPr>
            <p:cNvSpPr/>
            <p:nvPr/>
          </p:nvSpPr>
          <p:spPr>
            <a:xfrm>
              <a:off x="9377155" y="1456552"/>
              <a:ext cx="17702" cy="17674"/>
            </a:xfrm>
            <a:custGeom>
              <a:avLst/>
              <a:gdLst>
                <a:gd name="connsiteX0" fmla="*/ 0 w 9506"/>
                <a:gd name="connsiteY0" fmla="*/ 0 h 9491"/>
                <a:gd name="connsiteX1" fmla="*/ 0 w 9506"/>
                <a:gd name="connsiteY1" fmla="*/ 0 h 9491"/>
                <a:gd name="connsiteX2" fmla="*/ 0 w 9506"/>
                <a:gd name="connsiteY2" fmla="*/ 0 h 9491"/>
                <a:gd name="connsiteX3" fmla="*/ 0 w 9506"/>
                <a:gd name="connsiteY3" fmla="*/ 0 h 9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06" h="949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005351B4-7B39-CE87-A0B6-0777B6D478E8}"/>
                </a:ext>
              </a:extLst>
            </p:cNvPr>
            <p:cNvSpPr/>
            <p:nvPr/>
          </p:nvSpPr>
          <p:spPr>
            <a:xfrm>
              <a:off x="7764174" y="5240978"/>
              <a:ext cx="1214471" cy="355429"/>
            </a:xfrm>
            <a:custGeom>
              <a:avLst/>
              <a:gdLst>
                <a:gd name="connsiteX0" fmla="*/ -181 w 652170"/>
                <a:gd name="connsiteY0" fmla="*/ 190796 h 190865"/>
                <a:gd name="connsiteX1" fmla="*/ 6094 w 652170"/>
                <a:gd name="connsiteY1" fmla="*/ 190796 h 190865"/>
                <a:gd name="connsiteX2" fmla="*/ 642483 w 652170"/>
                <a:gd name="connsiteY2" fmla="*/ 190796 h 190865"/>
                <a:gd name="connsiteX3" fmla="*/ 651989 w 652170"/>
                <a:gd name="connsiteY3" fmla="*/ 190796 h 190865"/>
                <a:gd name="connsiteX4" fmla="*/ 324478 w 652170"/>
                <a:gd name="connsiteY4" fmla="*/ -70 h 19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170" h="190865">
                  <a:moveTo>
                    <a:pt x="-181" y="190796"/>
                  </a:moveTo>
                  <a:lnTo>
                    <a:pt x="6094" y="190796"/>
                  </a:lnTo>
                  <a:lnTo>
                    <a:pt x="642483" y="190796"/>
                  </a:lnTo>
                  <a:cubicBezTo>
                    <a:pt x="645620" y="190796"/>
                    <a:pt x="648757" y="190796"/>
                    <a:pt x="651989" y="190796"/>
                  </a:cubicBezTo>
                  <a:lnTo>
                    <a:pt x="324478" y="-7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4FE75085-5E24-695F-D7DB-39E0A1167660}"/>
                </a:ext>
              </a:extLst>
            </p:cNvPr>
            <p:cNvSpPr/>
            <p:nvPr/>
          </p:nvSpPr>
          <p:spPr>
            <a:xfrm>
              <a:off x="8368400" y="5240625"/>
              <a:ext cx="770604" cy="355431"/>
            </a:xfrm>
            <a:custGeom>
              <a:avLst/>
              <a:gdLst>
                <a:gd name="connsiteX0" fmla="*/ 318013 w 413814"/>
                <a:gd name="connsiteY0" fmla="*/ -70 h 190866"/>
                <a:gd name="connsiteX1" fmla="*/ -181 w 413814"/>
                <a:gd name="connsiteY1" fmla="*/ -70 h 190866"/>
                <a:gd name="connsiteX2" fmla="*/ 327330 w 413814"/>
                <a:gd name="connsiteY2" fmla="*/ 190796 h 190866"/>
                <a:gd name="connsiteX3" fmla="*/ 413151 w 413814"/>
                <a:gd name="connsiteY3" fmla="*/ 86083 h 190866"/>
                <a:gd name="connsiteX4" fmla="*/ 317823 w 413814"/>
                <a:gd name="connsiteY4" fmla="*/ -70 h 19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14" h="190866">
                  <a:moveTo>
                    <a:pt x="318013" y="-70"/>
                  </a:moveTo>
                  <a:lnTo>
                    <a:pt x="-181" y="-70"/>
                  </a:lnTo>
                  <a:lnTo>
                    <a:pt x="327330" y="190796"/>
                  </a:lnTo>
                  <a:cubicBezTo>
                    <a:pt x="379993" y="185540"/>
                    <a:pt x="418416" y="138659"/>
                    <a:pt x="413151" y="86083"/>
                  </a:cubicBezTo>
                  <a:cubicBezTo>
                    <a:pt x="408254" y="37185"/>
                    <a:pt x="367047" y="-56"/>
                    <a:pt x="317823" y="-70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C20D43A2-0974-855F-7DA3-B1C01D148AB5}"/>
                </a:ext>
              </a:extLst>
            </p:cNvPr>
            <p:cNvSpPr/>
            <p:nvPr/>
          </p:nvSpPr>
          <p:spPr>
            <a:xfrm>
              <a:off x="7599341" y="5240625"/>
              <a:ext cx="769057" cy="355782"/>
            </a:xfrm>
            <a:custGeom>
              <a:avLst/>
              <a:gdLst>
                <a:gd name="connsiteX0" fmla="*/ 94608 w 412983"/>
                <a:gd name="connsiteY0" fmla="*/ -70 h 191055"/>
                <a:gd name="connsiteX1" fmla="*/ -175 w 412983"/>
                <a:gd name="connsiteY1" fmla="*/ 96633 h 191055"/>
                <a:gd name="connsiteX2" fmla="*/ 88334 w 412983"/>
                <a:gd name="connsiteY2" fmla="*/ 190986 h 191055"/>
                <a:gd name="connsiteX3" fmla="*/ 412803 w 412983"/>
                <a:gd name="connsiteY3" fmla="*/ -70 h 19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983" h="191055">
                  <a:moveTo>
                    <a:pt x="94608" y="-70"/>
                  </a:moveTo>
                  <a:cubicBezTo>
                    <a:pt x="41686" y="503"/>
                    <a:pt x="-750" y="43799"/>
                    <a:pt x="-175" y="96633"/>
                  </a:cubicBezTo>
                  <a:cubicBezTo>
                    <a:pt x="364" y="146236"/>
                    <a:pt x="38790" y="187200"/>
                    <a:pt x="88334" y="190986"/>
                  </a:cubicBezTo>
                  <a:lnTo>
                    <a:pt x="412803" y="-70"/>
                  </a:lnTo>
                  <a:close/>
                </a:path>
              </a:pathLst>
            </a:custGeom>
            <a:solidFill>
              <a:schemeClr val="accent6"/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249EB77D-A803-6751-3154-7334A10C7A42}"/>
                </a:ext>
              </a:extLst>
            </p:cNvPr>
            <p:cNvSpPr/>
            <p:nvPr/>
          </p:nvSpPr>
          <p:spPr>
            <a:xfrm>
              <a:off x="6860579" y="3122358"/>
              <a:ext cx="709031" cy="573177"/>
            </a:xfrm>
            <a:custGeom>
              <a:avLst/>
              <a:gdLst>
                <a:gd name="connsiteX0" fmla="*/ -181 w 380749"/>
                <a:gd name="connsiteY0" fmla="*/ -70 h 307796"/>
                <a:gd name="connsiteX1" fmla="*/ 61994 w 380749"/>
                <a:gd name="connsiteY1" fmla="*/ 150364 h 307796"/>
                <a:gd name="connsiteX2" fmla="*/ 142897 w 380749"/>
                <a:gd name="connsiteY2" fmla="*/ 307726 h 307796"/>
                <a:gd name="connsiteX3" fmla="*/ 380569 w 380749"/>
                <a:gd name="connsiteY3" fmla="*/ 307726 h 307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749" h="307796">
                  <a:moveTo>
                    <a:pt x="-181" y="-70"/>
                  </a:moveTo>
                  <a:cubicBezTo>
                    <a:pt x="17189" y="51392"/>
                    <a:pt x="37960" y="101647"/>
                    <a:pt x="61994" y="150364"/>
                  </a:cubicBezTo>
                  <a:cubicBezTo>
                    <a:pt x="88993" y="205792"/>
                    <a:pt x="116278" y="257613"/>
                    <a:pt x="142897" y="307726"/>
                  </a:cubicBezTo>
                  <a:lnTo>
                    <a:pt x="380569" y="307726"/>
                  </a:lnTo>
                  <a:close/>
                </a:path>
              </a:pathLst>
            </a:custGeom>
            <a:solidFill>
              <a:schemeClr val="accent3"/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E92DB5A3-EFC2-06D9-560C-A77EDA60679A}"/>
                </a:ext>
              </a:extLst>
            </p:cNvPr>
            <p:cNvSpPr/>
            <p:nvPr/>
          </p:nvSpPr>
          <p:spPr>
            <a:xfrm>
              <a:off x="6860402" y="2360594"/>
              <a:ext cx="708146" cy="1334765"/>
            </a:xfrm>
            <a:custGeom>
              <a:avLst/>
              <a:gdLst>
                <a:gd name="connsiteX0" fmla="*/ 336362 w 380274"/>
                <a:gd name="connsiteY0" fmla="*/ 632892 h 716768"/>
                <a:gd name="connsiteX1" fmla="*/ 250800 w 380274"/>
                <a:gd name="connsiteY1" fmla="*/ 467462 h 716768"/>
                <a:gd name="connsiteX2" fmla="*/ 174175 w 380274"/>
                <a:gd name="connsiteY2" fmla="*/ -70 h 716768"/>
                <a:gd name="connsiteX3" fmla="*/ -181 w 380274"/>
                <a:gd name="connsiteY3" fmla="*/ 408902 h 716768"/>
                <a:gd name="connsiteX4" fmla="*/ -181 w 380274"/>
                <a:gd name="connsiteY4" fmla="*/ 408902 h 716768"/>
                <a:gd name="connsiteX5" fmla="*/ 380093 w 380274"/>
                <a:gd name="connsiteY5" fmla="*/ 716698 h 716768"/>
                <a:gd name="connsiteX6" fmla="*/ 336362 w 380274"/>
                <a:gd name="connsiteY6" fmla="*/ 632892 h 716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0274" h="716768">
                  <a:moveTo>
                    <a:pt x="336362" y="632892"/>
                  </a:moveTo>
                  <a:cubicBezTo>
                    <a:pt x="308316" y="579836"/>
                    <a:pt x="279321" y="524978"/>
                    <a:pt x="250800" y="467462"/>
                  </a:cubicBezTo>
                  <a:cubicBezTo>
                    <a:pt x="166379" y="294629"/>
                    <a:pt x="142041" y="145713"/>
                    <a:pt x="174175" y="-70"/>
                  </a:cubicBezTo>
                  <a:lnTo>
                    <a:pt x="-181" y="408902"/>
                  </a:lnTo>
                  <a:lnTo>
                    <a:pt x="-181" y="408902"/>
                  </a:lnTo>
                  <a:lnTo>
                    <a:pt x="380093" y="716698"/>
                  </a:lnTo>
                  <a:cubicBezTo>
                    <a:pt x="365579" y="688415"/>
                    <a:pt x="351002" y="660479"/>
                    <a:pt x="336362" y="632892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F586779E-46C9-1789-E433-E472DDE43CA9}"/>
                </a:ext>
              </a:extLst>
            </p:cNvPr>
            <p:cNvSpPr/>
            <p:nvPr/>
          </p:nvSpPr>
          <p:spPr>
            <a:xfrm>
              <a:off x="6769610" y="2360594"/>
              <a:ext cx="416892" cy="761585"/>
            </a:xfrm>
            <a:custGeom>
              <a:avLst/>
              <a:gdLst>
                <a:gd name="connsiteX0" fmla="*/ 9596 w 223871"/>
                <a:gd name="connsiteY0" fmla="*/ -70 h 408971"/>
                <a:gd name="connsiteX1" fmla="*/ 49050 w 223871"/>
                <a:gd name="connsiteY1" fmla="*/ 408902 h 408971"/>
                <a:gd name="connsiteX2" fmla="*/ 223690 w 223871"/>
                <a:gd name="connsiteY2" fmla="*/ -70 h 408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871" h="408971">
                  <a:moveTo>
                    <a:pt x="9596" y="-70"/>
                  </a:moveTo>
                  <a:cubicBezTo>
                    <a:pt x="-11509" y="131951"/>
                    <a:pt x="1515" y="267105"/>
                    <a:pt x="49050" y="408902"/>
                  </a:cubicBezTo>
                  <a:lnTo>
                    <a:pt x="223690" y="-7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478B34E1-FF96-0A3A-15FA-81EF81DF5086}"/>
                </a:ext>
              </a:extLst>
            </p:cNvPr>
            <p:cNvSpPr/>
            <p:nvPr/>
          </p:nvSpPr>
          <p:spPr>
            <a:xfrm>
              <a:off x="7178713" y="3793452"/>
              <a:ext cx="441176" cy="930198"/>
            </a:xfrm>
            <a:custGeom>
              <a:avLst/>
              <a:gdLst>
                <a:gd name="connsiteX0" fmla="*/ 236730 w 236911"/>
                <a:gd name="connsiteY0" fmla="*/ -70 h 499516"/>
                <a:gd name="connsiteX1" fmla="*/ -181 w 236911"/>
                <a:gd name="connsiteY1" fmla="*/ -70 h 499516"/>
                <a:gd name="connsiteX2" fmla="*/ 113901 w 236911"/>
                <a:gd name="connsiteY2" fmla="*/ 237208 h 499516"/>
                <a:gd name="connsiteX3" fmla="*/ 162577 w 236911"/>
                <a:gd name="connsiteY3" fmla="*/ 440127 h 499516"/>
                <a:gd name="connsiteX4" fmla="*/ 173414 w 236911"/>
                <a:gd name="connsiteY4" fmla="*/ 499447 h 49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911" h="499516">
                  <a:moveTo>
                    <a:pt x="236730" y="-70"/>
                  </a:moveTo>
                  <a:lnTo>
                    <a:pt x="-181" y="-70"/>
                  </a:lnTo>
                  <a:cubicBezTo>
                    <a:pt x="40794" y="77472"/>
                    <a:pt x="79486" y="153211"/>
                    <a:pt x="113901" y="237208"/>
                  </a:cubicBezTo>
                  <a:cubicBezTo>
                    <a:pt x="136148" y="291307"/>
                    <a:pt x="150218" y="370083"/>
                    <a:pt x="162577" y="440127"/>
                  </a:cubicBezTo>
                  <a:cubicBezTo>
                    <a:pt x="166189" y="460628"/>
                    <a:pt x="169707" y="480275"/>
                    <a:pt x="173414" y="499447"/>
                  </a:cubicBezTo>
                  <a:close/>
                </a:path>
              </a:pathLst>
            </a:custGeom>
            <a:solidFill>
              <a:schemeClr val="accent3"/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94AD302B-267E-2E21-979C-B14426C818F3}"/>
                </a:ext>
              </a:extLst>
            </p:cNvPr>
            <p:cNvSpPr/>
            <p:nvPr/>
          </p:nvSpPr>
          <p:spPr>
            <a:xfrm>
              <a:off x="7502514" y="4724535"/>
              <a:ext cx="815429" cy="393077"/>
            </a:xfrm>
            <a:custGeom>
              <a:avLst/>
              <a:gdLst>
                <a:gd name="connsiteX0" fmla="*/ 5143 w 437885"/>
                <a:gd name="connsiteY0" fmla="*/ 26790 h 211082"/>
                <a:gd name="connsiteX1" fmla="*/ 235209 w 437885"/>
                <a:gd name="connsiteY1" fmla="*/ 211012 h 211082"/>
                <a:gd name="connsiteX2" fmla="*/ 289778 w 437885"/>
                <a:gd name="connsiteY2" fmla="*/ 211012 h 211082"/>
                <a:gd name="connsiteX3" fmla="*/ 437705 w 437885"/>
                <a:gd name="connsiteY3" fmla="*/ 211012 h 211082"/>
                <a:gd name="connsiteX4" fmla="*/ 437705 w 437885"/>
                <a:gd name="connsiteY4" fmla="*/ 1069 h 211082"/>
                <a:gd name="connsiteX5" fmla="*/ 289778 w 437885"/>
                <a:gd name="connsiteY5" fmla="*/ 1069 h 211082"/>
                <a:gd name="connsiteX6" fmla="*/ 236920 w 437885"/>
                <a:gd name="connsiteY6" fmla="*/ 1069 h 211082"/>
                <a:gd name="connsiteX7" fmla="*/ 215054 w 437885"/>
                <a:gd name="connsiteY7" fmla="*/ -70 h 211082"/>
                <a:gd name="connsiteX8" fmla="*/ -181 w 437885"/>
                <a:gd name="connsiteY8" fmla="*/ -70 h 211082"/>
                <a:gd name="connsiteX9" fmla="*/ 5143 w 437885"/>
                <a:gd name="connsiteY9" fmla="*/ 26790 h 211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7885" h="211082">
                  <a:moveTo>
                    <a:pt x="5143" y="26790"/>
                  </a:moveTo>
                  <a:cubicBezTo>
                    <a:pt x="31667" y="153211"/>
                    <a:pt x="102683" y="210063"/>
                    <a:pt x="235209" y="211012"/>
                  </a:cubicBezTo>
                  <a:cubicBezTo>
                    <a:pt x="253367" y="211012"/>
                    <a:pt x="271525" y="211012"/>
                    <a:pt x="289778" y="211012"/>
                  </a:cubicBezTo>
                  <a:lnTo>
                    <a:pt x="437705" y="211012"/>
                  </a:lnTo>
                  <a:lnTo>
                    <a:pt x="437705" y="1069"/>
                  </a:lnTo>
                  <a:lnTo>
                    <a:pt x="289778" y="1069"/>
                  </a:lnTo>
                  <a:cubicBezTo>
                    <a:pt x="272190" y="1069"/>
                    <a:pt x="254603" y="1069"/>
                    <a:pt x="236920" y="1069"/>
                  </a:cubicBezTo>
                  <a:cubicBezTo>
                    <a:pt x="229616" y="1074"/>
                    <a:pt x="222318" y="694"/>
                    <a:pt x="215054" y="-70"/>
                  </a:cubicBezTo>
                  <a:lnTo>
                    <a:pt x="-181" y="-70"/>
                  </a:lnTo>
                  <a:cubicBezTo>
                    <a:pt x="1530" y="8757"/>
                    <a:pt x="3336" y="17773"/>
                    <a:pt x="5143" y="2679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89507637-E4BF-8C91-CAB8-F09658A70236}"/>
                </a:ext>
              </a:extLst>
            </p:cNvPr>
            <p:cNvSpPr/>
            <p:nvPr/>
          </p:nvSpPr>
          <p:spPr>
            <a:xfrm>
              <a:off x="7502336" y="3793452"/>
              <a:ext cx="400810" cy="930729"/>
            </a:xfrm>
            <a:custGeom>
              <a:avLst/>
              <a:gdLst>
                <a:gd name="connsiteX0" fmla="*/ -86 w 215235"/>
                <a:gd name="connsiteY0" fmla="*/ 499731 h 499801"/>
                <a:gd name="connsiteX1" fmla="*/ 215054 w 215235"/>
                <a:gd name="connsiteY1" fmla="*/ 499731 h 499801"/>
                <a:gd name="connsiteX2" fmla="*/ 211061 w 215235"/>
                <a:gd name="connsiteY2" fmla="*/ 483597 h 499801"/>
                <a:gd name="connsiteX3" fmla="*/ 196041 w 215235"/>
                <a:gd name="connsiteY3" fmla="*/ 403586 h 499801"/>
                <a:gd name="connsiteX4" fmla="*/ 134816 w 215235"/>
                <a:gd name="connsiteY4" fmla="*/ 157577 h 499801"/>
                <a:gd name="connsiteX5" fmla="*/ 62469 w 215235"/>
                <a:gd name="connsiteY5" fmla="*/ -70 h 499801"/>
                <a:gd name="connsiteX6" fmla="*/ -181 w 215235"/>
                <a:gd name="connsiteY6" fmla="*/ 499637 h 499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235" h="499801">
                  <a:moveTo>
                    <a:pt x="-86" y="499731"/>
                  </a:moveTo>
                  <a:lnTo>
                    <a:pt x="215054" y="499731"/>
                  </a:lnTo>
                  <a:cubicBezTo>
                    <a:pt x="213914" y="495935"/>
                    <a:pt x="212582" y="490715"/>
                    <a:pt x="211061" y="483597"/>
                  </a:cubicBezTo>
                  <a:cubicBezTo>
                    <a:pt x="206023" y="459299"/>
                    <a:pt x="201554" y="432250"/>
                    <a:pt x="196041" y="403586"/>
                  </a:cubicBezTo>
                  <a:cubicBezTo>
                    <a:pt x="181876" y="323482"/>
                    <a:pt x="165714" y="232747"/>
                    <a:pt x="134816" y="157577"/>
                  </a:cubicBezTo>
                  <a:cubicBezTo>
                    <a:pt x="112000" y="102149"/>
                    <a:pt x="87282" y="49948"/>
                    <a:pt x="62469" y="-70"/>
                  </a:cubicBezTo>
                  <a:lnTo>
                    <a:pt x="-181" y="499637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 20">
              <a:extLst>
                <a:ext uri="{FF2B5EF4-FFF2-40B4-BE49-F238E27FC236}">
                  <a16:creationId xmlns:a16="http://schemas.microsoft.com/office/drawing/2014/main" id="{EE0DF1A5-AFA6-7788-9B98-08D189FA2703}"/>
                </a:ext>
              </a:extLst>
            </p:cNvPr>
            <p:cNvSpPr/>
            <p:nvPr/>
          </p:nvSpPr>
          <p:spPr>
            <a:xfrm>
              <a:off x="6806052" y="1456552"/>
              <a:ext cx="553770" cy="806302"/>
            </a:xfrm>
            <a:custGeom>
              <a:avLst/>
              <a:gdLst>
                <a:gd name="connsiteX0" fmla="*/ 297193 w 297374"/>
                <a:gd name="connsiteY0" fmla="*/ -70 h 432984"/>
                <a:gd name="connsiteX1" fmla="*/ 1245 w 297374"/>
                <a:gd name="connsiteY1" fmla="*/ 426270 h 432984"/>
                <a:gd name="connsiteX2" fmla="*/ -181 w 297374"/>
                <a:gd name="connsiteY2" fmla="*/ 432914 h 432984"/>
                <a:gd name="connsiteX3" fmla="*/ 218477 w 297374"/>
                <a:gd name="connsiteY3" fmla="*/ 432914 h 432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374" h="432984">
                  <a:moveTo>
                    <a:pt x="297193" y="-70"/>
                  </a:moveTo>
                  <a:cubicBezTo>
                    <a:pt x="142137" y="115816"/>
                    <a:pt x="37561" y="273559"/>
                    <a:pt x="1245" y="426270"/>
                  </a:cubicBezTo>
                  <a:lnTo>
                    <a:pt x="-181" y="432914"/>
                  </a:lnTo>
                  <a:lnTo>
                    <a:pt x="218477" y="432914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 21">
              <a:extLst>
                <a:ext uri="{FF2B5EF4-FFF2-40B4-BE49-F238E27FC236}">
                  <a16:creationId xmlns:a16="http://schemas.microsoft.com/office/drawing/2014/main" id="{3BA4E2BC-3861-BAF7-0443-DBD77234CAC3}"/>
                </a:ext>
              </a:extLst>
            </p:cNvPr>
            <p:cNvSpPr/>
            <p:nvPr/>
          </p:nvSpPr>
          <p:spPr>
            <a:xfrm>
              <a:off x="7359821" y="1127634"/>
              <a:ext cx="958122" cy="391133"/>
            </a:xfrm>
            <a:custGeom>
              <a:avLst/>
              <a:gdLst>
                <a:gd name="connsiteX0" fmla="*/ 514330 w 514511"/>
                <a:gd name="connsiteY0" fmla="*/ -70 h 210038"/>
                <a:gd name="connsiteX1" fmla="*/ -181 w 514511"/>
                <a:gd name="connsiteY1" fmla="*/ 176559 h 210038"/>
                <a:gd name="connsiteX2" fmla="*/ 514330 w 514511"/>
                <a:gd name="connsiteY2" fmla="*/ 209968 h 210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511" h="210038">
                  <a:moveTo>
                    <a:pt x="514330" y="-70"/>
                  </a:moveTo>
                  <a:cubicBezTo>
                    <a:pt x="328633" y="4137"/>
                    <a:pt x="148836" y="65860"/>
                    <a:pt x="-181" y="176559"/>
                  </a:cubicBezTo>
                  <a:lnTo>
                    <a:pt x="514330" y="209968"/>
                  </a:lnTo>
                  <a:close/>
                </a:path>
              </a:pathLst>
            </a:custGeom>
            <a:solidFill>
              <a:schemeClr val="tx2"/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 22">
              <a:extLst>
                <a:ext uri="{FF2B5EF4-FFF2-40B4-BE49-F238E27FC236}">
                  <a16:creationId xmlns:a16="http://schemas.microsoft.com/office/drawing/2014/main" id="{CCD3F107-9A65-F8E1-AAB1-402A2C470DB6}"/>
                </a:ext>
              </a:extLst>
            </p:cNvPr>
            <p:cNvSpPr/>
            <p:nvPr/>
          </p:nvSpPr>
          <p:spPr>
            <a:xfrm>
              <a:off x="7213590" y="1456552"/>
              <a:ext cx="1104353" cy="806302"/>
            </a:xfrm>
            <a:custGeom>
              <a:avLst/>
              <a:gdLst>
                <a:gd name="connsiteX0" fmla="*/ 592857 w 593037"/>
                <a:gd name="connsiteY0" fmla="*/ 33339 h 432984"/>
                <a:gd name="connsiteX1" fmla="*/ 78346 w 593037"/>
                <a:gd name="connsiteY1" fmla="*/ -70 h 432984"/>
                <a:gd name="connsiteX2" fmla="*/ 78346 w 593037"/>
                <a:gd name="connsiteY2" fmla="*/ -70 h 432984"/>
                <a:gd name="connsiteX3" fmla="*/ -181 w 593037"/>
                <a:gd name="connsiteY3" fmla="*/ 432914 h 432984"/>
                <a:gd name="connsiteX4" fmla="*/ 592857 w 593037"/>
                <a:gd name="connsiteY4" fmla="*/ 33339 h 432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3037" h="432984">
                  <a:moveTo>
                    <a:pt x="592857" y="33339"/>
                  </a:moveTo>
                  <a:lnTo>
                    <a:pt x="78346" y="-70"/>
                  </a:lnTo>
                  <a:lnTo>
                    <a:pt x="78346" y="-70"/>
                  </a:lnTo>
                  <a:lnTo>
                    <a:pt x="-181" y="432914"/>
                  </a:lnTo>
                  <a:cubicBezTo>
                    <a:pt x="69790" y="235784"/>
                    <a:pt x="297384" y="44823"/>
                    <a:pt x="592857" y="33339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 23">
              <a:extLst>
                <a:ext uri="{FF2B5EF4-FFF2-40B4-BE49-F238E27FC236}">
                  <a16:creationId xmlns:a16="http://schemas.microsoft.com/office/drawing/2014/main" id="{F1404038-946D-8194-4030-8C037B2C5287}"/>
                </a:ext>
              </a:extLst>
            </p:cNvPr>
            <p:cNvSpPr/>
            <p:nvPr/>
          </p:nvSpPr>
          <p:spPr>
            <a:xfrm>
              <a:off x="9167721" y="2360594"/>
              <a:ext cx="728152" cy="1335824"/>
            </a:xfrm>
            <a:custGeom>
              <a:avLst/>
              <a:gdLst>
                <a:gd name="connsiteX0" fmla="*/ 205738 w 391017"/>
                <a:gd name="connsiteY0" fmla="*/ -70 h 717337"/>
                <a:gd name="connsiteX1" fmla="*/ 129683 w 391017"/>
                <a:gd name="connsiteY1" fmla="*/ 467462 h 717337"/>
                <a:gd name="connsiteX2" fmla="*/ 44121 w 391017"/>
                <a:gd name="connsiteY2" fmla="*/ 632987 h 717337"/>
                <a:gd name="connsiteX3" fmla="*/ -181 w 391017"/>
                <a:gd name="connsiteY3" fmla="*/ 717268 h 717337"/>
                <a:gd name="connsiteX4" fmla="*/ 390836 w 391017"/>
                <a:gd name="connsiteY4" fmla="*/ 376822 h 717337"/>
                <a:gd name="connsiteX5" fmla="*/ 390836 w 391017"/>
                <a:gd name="connsiteY5" fmla="*/ 376822 h 717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1017" h="717337">
                  <a:moveTo>
                    <a:pt x="205738" y="-70"/>
                  </a:moveTo>
                  <a:cubicBezTo>
                    <a:pt x="237966" y="145808"/>
                    <a:pt x="213628" y="294724"/>
                    <a:pt x="129683" y="467462"/>
                  </a:cubicBezTo>
                  <a:cubicBezTo>
                    <a:pt x="101162" y="524978"/>
                    <a:pt x="72642" y="579836"/>
                    <a:pt x="44121" y="632987"/>
                  </a:cubicBezTo>
                  <a:cubicBezTo>
                    <a:pt x="29195" y="660321"/>
                    <a:pt x="14745" y="688794"/>
                    <a:pt x="-181" y="717268"/>
                  </a:cubicBezTo>
                  <a:lnTo>
                    <a:pt x="390836" y="376822"/>
                  </a:lnTo>
                  <a:lnTo>
                    <a:pt x="390836" y="376822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 24">
              <a:extLst>
                <a:ext uri="{FF2B5EF4-FFF2-40B4-BE49-F238E27FC236}">
                  <a16:creationId xmlns:a16="http://schemas.microsoft.com/office/drawing/2014/main" id="{D264046A-A082-2A3F-2A4F-FF92B66E303F}"/>
                </a:ext>
              </a:extLst>
            </p:cNvPr>
            <p:cNvSpPr/>
            <p:nvPr/>
          </p:nvSpPr>
          <p:spPr>
            <a:xfrm>
              <a:off x="9167721" y="3062442"/>
              <a:ext cx="728152" cy="633976"/>
            </a:xfrm>
            <a:custGeom>
              <a:avLst/>
              <a:gdLst>
                <a:gd name="connsiteX0" fmla="*/ 237300 w 391017"/>
                <a:gd name="connsiteY0" fmla="*/ 340376 h 340445"/>
                <a:gd name="connsiteX1" fmla="*/ 318204 w 391017"/>
                <a:gd name="connsiteY1" fmla="*/ 183108 h 340445"/>
                <a:gd name="connsiteX2" fmla="*/ 390836 w 391017"/>
                <a:gd name="connsiteY2" fmla="*/ -70 h 340445"/>
                <a:gd name="connsiteX3" fmla="*/ -181 w 391017"/>
                <a:gd name="connsiteY3" fmla="*/ 340376 h 34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1017" h="340445">
                  <a:moveTo>
                    <a:pt x="237300" y="340376"/>
                  </a:moveTo>
                  <a:cubicBezTo>
                    <a:pt x="263919" y="290263"/>
                    <a:pt x="291204" y="238441"/>
                    <a:pt x="318204" y="183108"/>
                  </a:cubicBezTo>
                  <a:cubicBezTo>
                    <a:pt x="347347" y="124115"/>
                    <a:pt x="371638" y="62854"/>
                    <a:pt x="390836" y="-70"/>
                  </a:cubicBezTo>
                  <a:lnTo>
                    <a:pt x="-181" y="340376"/>
                  </a:lnTo>
                  <a:close/>
                </a:path>
              </a:pathLst>
            </a:custGeom>
            <a:solidFill>
              <a:schemeClr val="accent5"/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 25">
              <a:extLst>
                <a:ext uri="{FF2B5EF4-FFF2-40B4-BE49-F238E27FC236}">
                  <a16:creationId xmlns:a16="http://schemas.microsoft.com/office/drawing/2014/main" id="{34FA7C9C-E467-946E-E1ED-133099835D55}"/>
                </a:ext>
              </a:extLst>
            </p:cNvPr>
            <p:cNvSpPr/>
            <p:nvPr/>
          </p:nvSpPr>
          <p:spPr>
            <a:xfrm>
              <a:off x="9551181" y="2360594"/>
              <a:ext cx="417027" cy="700787"/>
            </a:xfrm>
            <a:custGeom>
              <a:avLst/>
              <a:gdLst>
                <a:gd name="connsiteX0" fmla="*/ 213913 w 223943"/>
                <a:gd name="connsiteY0" fmla="*/ -70 h 376322"/>
                <a:gd name="connsiteX1" fmla="*/ -181 w 223943"/>
                <a:gd name="connsiteY1" fmla="*/ -70 h 376322"/>
                <a:gd name="connsiteX2" fmla="*/ 184917 w 223943"/>
                <a:gd name="connsiteY2" fmla="*/ 376252 h 376322"/>
                <a:gd name="connsiteX3" fmla="*/ 213913 w 223943"/>
                <a:gd name="connsiteY3" fmla="*/ -70 h 376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3943" h="376322">
                  <a:moveTo>
                    <a:pt x="213913" y="-70"/>
                  </a:moveTo>
                  <a:lnTo>
                    <a:pt x="-181" y="-70"/>
                  </a:lnTo>
                  <a:lnTo>
                    <a:pt x="184917" y="376252"/>
                  </a:lnTo>
                  <a:cubicBezTo>
                    <a:pt x="223896" y="246319"/>
                    <a:pt x="233498" y="121796"/>
                    <a:pt x="213913" y="-70"/>
                  </a:cubicBez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 26">
              <a:extLst>
                <a:ext uri="{FF2B5EF4-FFF2-40B4-BE49-F238E27FC236}">
                  <a16:creationId xmlns:a16="http://schemas.microsoft.com/office/drawing/2014/main" id="{77F7E738-14C9-14DA-5401-2BA54C518EC1}"/>
                </a:ext>
              </a:extLst>
            </p:cNvPr>
            <p:cNvSpPr/>
            <p:nvPr/>
          </p:nvSpPr>
          <p:spPr>
            <a:xfrm>
              <a:off x="9377155" y="1456552"/>
              <a:ext cx="553770" cy="806302"/>
            </a:xfrm>
            <a:custGeom>
              <a:avLst/>
              <a:gdLst>
                <a:gd name="connsiteX0" fmla="*/ 297193 w 297374"/>
                <a:gd name="connsiteY0" fmla="*/ 432914 h 432984"/>
                <a:gd name="connsiteX1" fmla="*/ 295672 w 297374"/>
                <a:gd name="connsiteY1" fmla="*/ 426365 h 432984"/>
                <a:gd name="connsiteX2" fmla="*/ -181 w 297374"/>
                <a:gd name="connsiteY2" fmla="*/ -70 h 432984"/>
                <a:gd name="connsiteX3" fmla="*/ 78345 w 297374"/>
                <a:gd name="connsiteY3" fmla="*/ 432914 h 432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374" h="432984">
                  <a:moveTo>
                    <a:pt x="297193" y="432914"/>
                  </a:moveTo>
                  <a:cubicBezTo>
                    <a:pt x="296718" y="430731"/>
                    <a:pt x="296243" y="428548"/>
                    <a:pt x="295672" y="426365"/>
                  </a:cubicBezTo>
                  <a:cubicBezTo>
                    <a:pt x="259166" y="273653"/>
                    <a:pt x="155161" y="115816"/>
                    <a:pt x="-181" y="-70"/>
                  </a:cubicBezTo>
                  <a:lnTo>
                    <a:pt x="78345" y="432914"/>
                  </a:lnTo>
                  <a:close/>
                </a:path>
              </a:pathLst>
            </a:custGeom>
            <a:solidFill>
              <a:schemeClr val="accent1"/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 27">
              <a:extLst>
                <a:ext uri="{FF2B5EF4-FFF2-40B4-BE49-F238E27FC236}">
                  <a16:creationId xmlns:a16="http://schemas.microsoft.com/office/drawing/2014/main" id="{948977FD-3E9C-5B54-B4E3-4309884E4B44}"/>
                </a:ext>
              </a:extLst>
            </p:cNvPr>
            <p:cNvSpPr/>
            <p:nvPr/>
          </p:nvSpPr>
          <p:spPr>
            <a:xfrm>
              <a:off x="8416554" y="1456552"/>
              <a:ext cx="1106832" cy="806302"/>
            </a:xfrm>
            <a:custGeom>
              <a:avLst/>
              <a:gdLst>
                <a:gd name="connsiteX0" fmla="*/ 594188 w 594368"/>
                <a:gd name="connsiteY0" fmla="*/ 432914 h 432984"/>
                <a:gd name="connsiteX1" fmla="*/ 515661 w 594368"/>
                <a:gd name="connsiteY1" fmla="*/ -70 h 432984"/>
                <a:gd name="connsiteX2" fmla="*/ 515661 w 594368"/>
                <a:gd name="connsiteY2" fmla="*/ -70 h 432984"/>
                <a:gd name="connsiteX3" fmla="*/ -181 w 594368"/>
                <a:gd name="connsiteY3" fmla="*/ 33339 h 432984"/>
                <a:gd name="connsiteX4" fmla="*/ 594188 w 594368"/>
                <a:gd name="connsiteY4" fmla="*/ 432914 h 432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4368" h="432984">
                  <a:moveTo>
                    <a:pt x="594188" y="432914"/>
                  </a:moveTo>
                  <a:lnTo>
                    <a:pt x="515661" y="-70"/>
                  </a:lnTo>
                  <a:lnTo>
                    <a:pt x="515661" y="-70"/>
                  </a:lnTo>
                  <a:lnTo>
                    <a:pt x="-181" y="33339"/>
                  </a:lnTo>
                  <a:cubicBezTo>
                    <a:pt x="295863" y="44159"/>
                    <a:pt x="524027" y="235404"/>
                    <a:pt x="594188" y="43291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 28">
              <a:extLst>
                <a:ext uri="{FF2B5EF4-FFF2-40B4-BE49-F238E27FC236}">
                  <a16:creationId xmlns:a16="http://schemas.microsoft.com/office/drawing/2014/main" id="{7FABD616-4CB3-C2D1-78CE-15F144CDA766}"/>
                </a:ext>
              </a:extLst>
            </p:cNvPr>
            <p:cNvSpPr/>
            <p:nvPr/>
          </p:nvSpPr>
          <p:spPr>
            <a:xfrm>
              <a:off x="8416554" y="1127457"/>
              <a:ext cx="961308" cy="391309"/>
            </a:xfrm>
            <a:custGeom>
              <a:avLst/>
              <a:gdLst>
                <a:gd name="connsiteX0" fmla="*/ -181 w 516222"/>
                <a:gd name="connsiteY0" fmla="*/ -70 h 210133"/>
                <a:gd name="connsiteX1" fmla="*/ -181 w 516222"/>
                <a:gd name="connsiteY1" fmla="*/ 210063 h 210133"/>
                <a:gd name="connsiteX2" fmla="*/ 516041 w 516222"/>
                <a:gd name="connsiteY2" fmla="*/ 176654 h 210133"/>
                <a:gd name="connsiteX3" fmla="*/ -181 w 516222"/>
                <a:gd name="connsiteY3" fmla="*/ -70 h 210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6222" h="210133">
                  <a:moveTo>
                    <a:pt x="-181" y="-70"/>
                  </a:moveTo>
                  <a:lnTo>
                    <a:pt x="-181" y="210063"/>
                  </a:lnTo>
                  <a:lnTo>
                    <a:pt x="516041" y="176654"/>
                  </a:lnTo>
                  <a:cubicBezTo>
                    <a:pt x="366503" y="65699"/>
                    <a:pt x="186092" y="3937"/>
                    <a:pt x="-181" y="-7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 29">
              <a:extLst>
                <a:ext uri="{FF2B5EF4-FFF2-40B4-BE49-F238E27FC236}">
                  <a16:creationId xmlns:a16="http://schemas.microsoft.com/office/drawing/2014/main" id="{6057B2C7-0D43-EF47-9CE2-DBA74090A519}"/>
                </a:ext>
              </a:extLst>
            </p:cNvPr>
            <p:cNvSpPr/>
            <p:nvPr/>
          </p:nvSpPr>
          <p:spPr>
            <a:xfrm>
              <a:off x="8833829" y="3793629"/>
              <a:ext cx="400634" cy="930552"/>
            </a:xfrm>
            <a:custGeom>
              <a:avLst/>
              <a:gdLst>
                <a:gd name="connsiteX0" fmla="*/ 79962 w 215140"/>
                <a:gd name="connsiteY0" fmla="*/ 157482 h 499706"/>
                <a:gd name="connsiteX1" fmla="*/ 18833 w 215140"/>
                <a:gd name="connsiteY1" fmla="*/ 403492 h 499706"/>
                <a:gd name="connsiteX2" fmla="*/ 3812 w 215140"/>
                <a:gd name="connsiteY2" fmla="*/ 483502 h 499706"/>
                <a:gd name="connsiteX3" fmla="*/ -181 w 215140"/>
                <a:gd name="connsiteY3" fmla="*/ 499637 h 499706"/>
                <a:gd name="connsiteX4" fmla="*/ 214959 w 215140"/>
                <a:gd name="connsiteY4" fmla="*/ 499637 h 499706"/>
                <a:gd name="connsiteX5" fmla="*/ 152309 w 215140"/>
                <a:gd name="connsiteY5" fmla="*/ -70 h 499706"/>
                <a:gd name="connsiteX6" fmla="*/ 79962 w 215140"/>
                <a:gd name="connsiteY6" fmla="*/ 157482 h 499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5140" h="499706">
                  <a:moveTo>
                    <a:pt x="79962" y="157482"/>
                  </a:moveTo>
                  <a:cubicBezTo>
                    <a:pt x="49160" y="232462"/>
                    <a:pt x="32998" y="323387"/>
                    <a:pt x="18833" y="403492"/>
                  </a:cubicBezTo>
                  <a:cubicBezTo>
                    <a:pt x="13699" y="431965"/>
                    <a:pt x="8850" y="459205"/>
                    <a:pt x="3812" y="483502"/>
                  </a:cubicBezTo>
                  <a:cubicBezTo>
                    <a:pt x="2291" y="490620"/>
                    <a:pt x="960" y="495840"/>
                    <a:pt x="-181" y="499637"/>
                  </a:cubicBezTo>
                  <a:lnTo>
                    <a:pt x="214959" y="499637"/>
                  </a:lnTo>
                  <a:lnTo>
                    <a:pt x="152309" y="-70"/>
                  </a:lnTo>
                  <a:cubicBezTo>
                    <a:pt x="127496" y="49853"/>
                    <a:pt x="102778" y="102054"/>
                    <a:pt x="79962" y="157482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 30">
              <a:extLst>
                <a:ext uri="{FF2B5EF4-FFF2-40B4-BE49-F238E27FC236}">
                  <a16:creationId xmlns:a16="http://schemas.microsoft.com/office/drawing/2014/main" id="{969828CF-583B-2A9A-2838-655DF08FADF9}"/>
                </a:ext>
              </a:extLst>
            </p:cNvPr>
            <p:cNvSpPr/>
            <p:nvPr/>
          </p:nvSpPr>
          <p:spPr>
            <a:xfrm>
              <a:off x="8416554" y="4724181"/>
              <a:ext cx="817554" cy="393077"/>
            </a:xfrm>
            <a:custGeom>
              <a:avLst/>
              <a:gdLst>
                <a:gd name="connsiteX0" fmla="*/ 201745 w 439026"/>
                <a:gd name="connsiteY0" fmla="*/ 1069 h 211082"/>
                <a:gd name="connsiteX1" fmla="*/ 149172 w 439026"/>
                <a:gd name="connsiteY1" fmla="*/ 1069 h 211082"/>
                <a:gd name="connsiteX2" fmla="*/ -181 w 439026"/>
                <a:gd name="connsiteY2" fmla="*/ 1069 h 211082"/>
                <a:gd name="connsiteX3" fmla="*/ -181 w 439026"/>
                <a:gd name="connsiteY3" fmla="*/ 211012 h 211082"/>
                <a:gd name="connsiteX4" fmla="*/ 148982 w 439026"/>
                <a:gd name="connsiteY4" fmla="*/ 211012 h 211082"/>
                <a:gd name="connsiteX5" fmla="*/ 203266 w 439026"/>
                <a:gd name="connsiteY5" fmla="*/ 211012 h 211082"/>
                <a:gd name="connsiteX6" fmla="*/ 433427 w 439026"/>
                <a:gd name="connsiteY6" fmla="*/ 26790 h 211082"/>
                <a:gd name="connsiteX7" fmla="*/ 438846 w 439026"/>
                <a:gd name="connsiteY7" fmla="*/ -70 h 211082"/>
                <a:gd name="connsiteX8" fmla="*/ 223800 w 439026"/>
                <a:gd name="connsiteY8" fmla="*/ -70 h 211082"/>
                <a:gd name="connsiteX9" fmla="*/ 201745 w 439026"/>
                <a:gd name="connsiteY9" fmla="*/ 1069 h 211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9026" h="211082">
                  <a:moveTo>
                    <a:pt x="201745" y="1069"/>
                  </a:moveTo>
                  <a:cubicBezTo>
                    <a:pt x="184252" y="1069"/>
                    <a:pt x="166664" y="1069"/>
                    <a:pt x="149172" y="1069"/>
                  </a:cubicBezTo>
                  <a:lnTo>
                    <a:pt x="-181" y="1069"/>
                  </a:lnTo>
                  <a:lnTo>
                    <a:pt x="-181" y="211012"/>
                  </a:lnTo>
                  <a:lnTo>
                    <a:pt x="148982" y="211012"/>
                  </a:lnTo>
                  <a:cubicBezTo>
                    <a:pt x="167140" y="211012"/>
                    <a:pt x="185298" y="211012"/>
                    <a:pt x="203266" y="211012"/>
                  </a:cubicBezTo>
                  <a:cubicBezTo>
                    <a:pt x="336362" y="210063"/>
                    <a:pt x="406998" y="153211"/>
                    <a:pt x="433427" y="26790"/>
                  </a:cubicBezTo>
                  <a:cubicBezTo>
                    <a:pt x="435328" y="17963"/>
                    <a:pt x="437134" y="8947"/>
                    <a:pt x="438846" y="-70"/>
                  </a:cubicBezTo>
                  <a:lnTo>
                    <a:pt x="223800" y="-70"/>
                  </a:lnTo>
                  <a:cubicBezTo>
                    <a:pt x="216474" y="696"/>
                    <a:pt x="209111" y="1076"/>
                    <a:pt x="201745" y="106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 31">
              <a:extLst>
                <a:ext uri="{FF2B5EF4-FFF2-40B4-BE49-F238E27FC236}">
                  <a16:creationId xmlns:a16="http://schemas.microsoft.com/office/drawing/2014/main" id="{F7BBC9A9-FD0E-A63D-3B2A-DEA3F87A76F8}"/>
                </a:ext>
              </a:extLst>
            </p:cNvPr>
            <p:cNvSpPr/>
            <p:nvPr/>
          </p:nvSpPr>
          <p:spPr>
            <a:xfrm>
              <a:off x="9117795" y="3793806"/>
              <a:ext cx="439935" cy="930198"/>
            </a:xfrm>
            <a:custGeom>
              <a:avLst/>
              <a:gdLst>
                <a:gd name="connsiteX0" fmla="*/ 62469 w 236245"/>
                <a:gd name="connsiteY0" fmla="*/ 499447 h 499516"/>
                <a:gd name="connsiteX1" fmla="*/ 73307 w 236245"/>
                <a:gd name="connsiteY1" fmla="*/ 440033 h 499516"/>
                <a:gd name="connsiteX2" fmla="*/ 121982 w 236245"/>
                <a:gd name="connsiteY2" fmla="*/ 237208 h 499516"/>
                <a:gd name="connsiteX3" fmla="*/ 236064 w 236245"/>
                <a:gd name="connsiteY3" fmla="*/ -70 h 499516"/>
                <a:gd name="connsiteX4" fmla="*/ -181 w 236245"/>
                <a:gd name="connsiteY4" fmla="*/ -70 h 49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245" h="499516">
                  <a:moveTo>
                    <a:pt x="62469" y="499447"/>
                  </a:moveTo>
                  <a:cubicBezTo>
                    <a:pt x="66177" y="480465"/>
                    <a:pt x="69694" y="460533"/>
                    <a:pt x="73307" y="440033"/>
                  </a:cubicBezTo>
                  <a:cubicBezTo>
                    <a:pt x="85666" y="370273"/>
                    <a:pt x="99641" y="291307"/>
                    <a:pt x="121982" y="237208"/>
                  </a:cubicBezTo>
                  <a:cubicBezTo>
                    <a:pt x="156587" y="153022"/>
                    <a:pt x="195375" y="77283"/>
                    <a:pt x="236064" y="-70"/>
                  </a:cubicBezTo>
                  <a:lnTo>
                    <a:pt x="-181" y="-70"/>
                  </a:lnTo>
                  <a:close/>
                </a:path>
              </a:pathLst>
            </a:custGeom>
            <a:solidFill>
              <a:schemeClr val="accent4"/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 32">
              <a:extLst>
                <a:ext uri="{FF2B5EF4-FFF2-40B4-BE49-F238E27FC236}">
                  <a16:creationId xmlns:a16="http://schemas.microsoft.com/office/drawing/2014/main" id="{E12EEEFA-83E4-8845-7696-A62759DCEC4C}"/>
                </a:ext>
              </a:extLst>
            </p:cNvPr>
            <p:cNvSpPr/>
            <p:nvPr/>
          </p:nvSpPr>
          <p:spPr>
            <a:xfrm>
              <a:off x="8368400" y="5720661"/>
              <a:ext cx="770604" cy="355431"/>
            </a:xfrm>
            <a:custGeom>
              <a:avLst/>
              <a:gdLst>
                <a:gd name="connsiteX0" fmla="*/ 318013 w 413814"/>
                <a:gd name="connsiteY0" fmla="*/ -70 h 190866"/>
                <a:gd name="connsiteX1" fmla="*/ -181 w 413814"/>
                <a:gd name="connsiteY1" fmla="*/ -70 h 190866"/>
                <a:gd name="connsiteX2" fmla="*/ 327330 w 413814"/>
                <a:gd name="connsiteY2" fmla="*/ 190796 h 190866"/>
                <a:gd name="connsiteX3" fmla="*/ 413151 w 413814"/>
                <a:gd name="connsiteY3" fmla="*/ 86083 h 190866"/>
                <a:gd name="connsiteX4" fmla="*/ 317823 w 413814"/>
                <a:gd name="connsiteY4" fmla="*/ -70 h 19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814" h="190866">
                  <a:moveTo>
                    <a:pt x="318013" y="-70"/>
                  </a:moveTo>
                  <a:lnTo>
                    <a:pt x="-181" y="-70"/>
                  </a:lnTo>
                  <a:lnTo>
                    <a:pt x="327330" y="190796"/>
                  </a:lnTo>
                  <a:cubicBezTo>
                    <a:pt x="379993" y="185540"/>
                    <a:pt x="418416" y="138659"/>
                    <a:pt x="413151" y="86083"/>
                  </a:cubicBezTo>
                  <a:cubicBezTo>
                    <a:pt x="408254" y="37185"/>
                    <a:pt x="367047" y="-56"/>
                    <a:pt x="317823" y="-7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 33">
              <a:extLst>
                <a:ext uri="{FF2B5EF4-FFF2-40B4-BE49-F238E27FC236}">
                  <a16:creationId xmlns:a16="http://schemas.microsoft.com/office/drawing/2014/main" id="{B3B3E216-38F7-4431-E831-223566AA2ADB}"/>
                </a:ext>
              </a:extLst>
            </p:cNvPr>
            <p:cNvSpPr/>
            <p:nvPr/>
          </p:nvSpPr>
          <p:spPr>
            <a:xfrm>
              <a:off x="7599341" y="5720661"/>
              <a:ext cx="769057" cy="355782"/>
            </a:xfrm>
            <a:custGeom>
              <a:avLst/>
              <a:gdLst>
                <a:gd name="connsiteX0" fmla="*/ 94608 w 412983"/>
                <a:gd name="connsiteY0" fmla="*/ -70 h 191055"/>
                <a:gd name="connsiteX1" fmla="*/ -175 w 412983"/>
                <a:gd name="connsiteY1" fmla="*/ 96633 h 191055"/>
                <a:gd name="connsiteX2" fmla="*/ 88334 w 412983"/>
                <a:gd name="connsiteY2" fmla="*/ 190986 h 191055"/>
                <a:gd name="connsiteX3" fmla="*/ 412803 w 412983"/>
                <a:gd name="connsiteY3" fmla="*/ -70 h 191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983" h="191055">
                  <a:moveTo>
                    <a:pt x="94608" y="-70"/>
                  </a:moveTo>
                  <a:cubicBezTo>
                    <a:pt x="41686" y="503"/>
                    <a:pt x="-750" y="43799"/>
                    <a:pt x="-175" y="96633"/>
                  </a:cubicBezTo>
                  <a:cubicBezTo>
                    <a:pt x="364" y="146236"/>
                    <a:pt x="38790" y="187200"/>
                    <a:pt x="88334" y="190986"/>
                  </a:cubicBezTo>
                  <a:lnTo>
                    <a:pt x="412803" y="-70"/>
                  </a:lnTo>
                  <a:close/>
                </a:path>
              </a:pathLst>
            </a:custGeom>
            <a:solidFill>
              <a:schemeClr val="accent3"/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 34">
              <a:extLst>
                <a:ext uri="{FF2B5EF4-FFF2-40B4-BE49-F238E27FC236}">
                  <a16:creationId xmlns:a16="http://schemas.microsoft.com/office/drawing/2014/main" id="{0559363F-F90E-1332-B157-5563F13FA13E}"/>
                </a:ext>
              </a:extLst>
            </p:cNvPr>
            <p:cNvSpPr/>
            <p:nvPr/>
          </p:nvSpPr>
          <p:spPr>
            <a:xfrm>
              <a:off x="7764174" y="5720130"/>
              <a:ext cx="1214471" cy="356326"/>
            </a:xfrm>
            <a:custGeom>
              <a:avLst/>
              <a:gdLst>
                <a:gd name="connsiteX0" fmla="*/ -181 w 652170"/>
                <a:gd name="connsiteY0" fmla="*/ 191271 h 191347"/>
                <a:gd name="connsiteX1" fmla="*/ 6094 w 652170"/>
                <a:gd name="connsiteY1" fmla="*/ 191271 h 191347"/>
                <a:gd name="connsiteX2" fmla="*/ 642483 w 652170"/>
                <a:gd name="connsiteY2" fmla="*/ 191271 h 191347"/>
                <a:gd name="connsiteX3" fmla="*/ 651989 w 652170"/>
                <a:gd name="connsiteY3" fmla="*/ 190796 h 191347"/>
                <a:gd name="connsiteX4" fmla="*/ 324478 w 652170"/>
                <a:gd name="connsiteY4" fmla="*/ -70 h 191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170" h="191347">
                  <a:moveTo>
                    <a:pt x="-181" y="191271"/>
                  </a:moveTo>
                  <a:lnTo>
                    <a:pt x="6094" y="191271"/>
                  </a:lnTo>
                  <a:lnTo>
                    <a:pt x="642483" y="191271"/>
                  </a:lnTo>
                  <a:cubicBezTo>
                    <a:pt x="645658" y="191312"/>
                    <a:pt x="648834" y="191154"/>
                    <a:pt x="651989" y="190796"/>
                  </a:cubicBezTo>
                  <a:lnTo>
                    <a:pt x="324478" y="-7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 35">
              <a:extLst>
                <a:ext uri="{FF2B5EF4-FFF2-40B4-BE49-F238E27FC236}">
                  <a16:creationId xmlns:a16="http://schemas.microsoft.com/office/drawing/2014/main" id="{60CEDA53-2A04-CE39-33E8-0644C47A3D09}"/>
                </a:ext>
              </a:extLst>
            </p:cNvPr>
            <p:cNvSpPr/>
            <p:nvPr/>
          </p:nvSpPr>
          <p:spPr>
            <a:xfrm>
              <a:off x="7502514" y="4649419"/>
              <a:ext cx="400810" cy="74585"/>
            </a:xfrm>
            <a:custGeom>
              <a:avLst/>
              <a:gdLst>
                <a:gd name="connsiteX0" fmla="*/ 0 w 215235"/>
                <a:gd name="connsiteY0" fmla="*/ 40052 h 40052"/>
                <a:gd name="connsiteX1" fmla="*/ 215235 w 215235"/>
                <a:gd name="connsiteY1" fmla="*/ 40052 h 40052"/>
                <a:gd name="connsiteX2" fmla="*/ 206489 w 215235"/>
                <a:gd name="connsiteY2" fmla="*/ 0 h 40052"/>
                <a:gd name="connsiteX3" fmla="*/ 0 w 215235"/>
                <a:gd name="connsiteY3" fmla="*/ 40052 h 4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235" h="40052">
                  <a:moveTo>
                    <a:pt x="0" y="40052"/>
                  </a:moveTo>
                  <a:lnTo>
                    <a:pt x="215235" y="40052"/>
                  </a:lnTo>
                  <a:lnTo>
                    <a:pt x="206489" y="0"/>
                  </a:lnTo>
                  <a:lnTo>
                    <a:pt x="0" y="40052"/>
                  </a:lnTo>
                  <a:close/>
                </a:path>
              </a:pathLst>
            </a:custGeom>
            <a:solidFill>
              <a:schemeClr val="accent3">
                <a:alpha val="50000"/>
              </a:scheme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 36">
              <a:extLst>
                <a:ext uri="{FF2B5EF4-FFF2-40B4-BE49-F238E27FC236}">
                  <a16:creationId xmlns:a16="http://schemas.microsoft.com/office/drawing/2014/main" id="{E60633F9-FEB9-7D46-80BF-61AEA56D2FF5}"/>
                </a:ext>
              </a:extLst>
            </p:cNvPr>
            <p:cNvSpPr/>
            <p:nvPr/>
          </p:nvSpPr>
          <p:spPr>
            <a:xfrm>
              <a:off x="8833652" y="4649419"/>
              <a:ext cx="400810" cy="74585"/>
            </a:xfrm>
            <a:custGeom>
              <a:avLst/>
              <a:gdLst>
                <a:gd name="connsiteX0" fmla="*/ 215235 w 215235"/>
                <a:gd name="connsiteY0" fmla="*/ 40052 h 40052"/>
                <a:gd name="connsiteX1" fmla="*/ 0 w 215235"/>
                <a:gd name="connsiteY1" fmla="*/ 40052 h 40052"/>
                <a:gd name="connsiteX2" fmla="*/ 8746 w 215235"/>
                <a:gd name="connsiteY2" fmla="*/ 0 h 40052"/>
                <a:gd name="connsiteX3" fmla="*/ 215235 w 215235"/>
                <a:gd name="connsiteY3" fmla="*/ 40052 h 4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235" h="40052">
                  <a:moveTo>
                    <a:pt x="215235" y="40052"/>
                  </a:moveTo>
                  <a:lnTo>
                    <a:pt x="0" y="40052"/>
                  </a:lnTo>
                  <a:lnTo>
                    <a:pt x="8746" y="0"/>
                  </a:lnTo>
                  <a:lnTo>
                    <a:pt x="215235" y="40052"/>
                  </a:lnTo>
                  <a:close/>
                </a:path>
              </a:pathLst>
            </a:custGeom>
            <a:solidFill>
              <a:srgbClr val="CC2331">
                <a:alpha val="50000"/>
              </a:srgbClr>
            </a:solidFill>
            <a:ln w="94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2BB6CE3C-8172-BF1B-5808-821EE66317BF}"/>
                </a:ext>
              </a:extLst>
            </p:cNvPr>
            <p:cNvSpPr txBox="1"/>
            <p:nvPr/>
          </p:nvSpPr>
          <p:spPr>
            <a:xfrm>
              <a:off x="7619889" y="1949136"/>
              <a:ext cx="1497906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tx2"/>
                  </a:solidFill>
                  <a:latin typeface="+mj-lt"/>
                </a:rPr>
                <a:t>What ideas do you have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35478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157" grpId="0"/>
      <p:bldP spid="158" grpId="0"/>
      <p:bldP spid="159" grpId="0"/>
      <p:bldP spid="160" grpId="0"/>
      <p:bldP spid="161" grpId="0"/>
      <p:bldP spid="1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8F8B325-F221-0620-03B6-B333CD3BF1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8665" y="437658"/>
            <a:ext cx="723578" cy="84063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9305EAC-BFDD-9B51-9ED3-D05A72108951}"/>
              </a:ext>
            </a:extLst>
          </p:cNvPr>
          <p:cNvSpPr txBox="1">
            <a:spLocks/>
          </p:cNvSpPr>
          <p:nvPr/>
        </p:nvSpPr>
        <p:spPr>
          <a:xfrm>
            <a:off x="692045" y="3559944"/>
            <a:ext cx="10495243" cy="6050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sz="4400" dirty="0">
                <a:solidFill>
                  <a:schemeClr val="bg1"/>
                </a:solidFill>
                <a:latin typeface="Abadi Extra Light" panose="020B0604020202020204" pitchFamily="34" charset="0"/>
              </a:rPr>
              <a:t>CYBERSECURITY AND THE HUMAN FACTOR</a:t>
            </a:r>
            <a:endParaRPr lang="es-US" sz="4400" dirty="0">
              <a:solidFill>
                <a:schemeClr val="bg1"/>
              </a:solidFill>
              <a:latin typeface="Abadi Extra Light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1D1C799-324B-7E0C-C412-1DDF6B513868}"/>
              </a:ext>
            </a:extLst>
          </p:cNvPr>
          <p:cNvSpPr txBox="1">
            <a:spLocks/>
          </p:cNvSpPr>
          <p:nvPr/>
        </p:nvSpPr>
        <p:spPr>
          <a:xfrm>
            <a:off x="692046" y="4502852"/>
            <a:ext cx="6851754" cy="7462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badi Extra Light" panose="020B0604020202020204" pitchFamily="34" charset="0"/>
              </a:rPr>
              <a:t>Juan Manuel Rodríguez</a:t>
            </a:r>
          </a:p>
          <a:p>
            <a:r>
              <a:rPr lang="en-US" sz="2400" dirty="0">
                <a:solidFill>
                  <a:schemeClr val="bg1"/>
                </a:solidFill>
                <a:latin typeface="Abadi Extra Light" panose="020B0604020202020204" pitchFamily="34" charset="0"/>
              </a:rPr>
              <a:t>Senior Manager, Information Security Operations Center</a:t>
            </a:r>
          </a:p>
          <a:p>
            <a:r>
              <a:rPr lang="en-US" sz="2400" dirty="0">
                <a:solidFill>
                  <a:schemeClr val="bg1"/>
                </a:solidFill>
                <a:latin typeface="Abadi Extra Light" panose="020B0604020202020204" pitchFamily="34" charset="0"/>
              </a:rPr>
              <a:t>Liberty Latin America</a:t>
            </a:r>
            <a:endParaRPr lang="es-US" sz="2400" dirty="0">
              <a:solidFill>
                <a:schemeClr val="bg1"/>
              </a:solidFill>
              <a:latin typeface="Abadi Extra Light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F633E1-50BF-2485-8DF7-6B96C1DF2F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046" y="5609562"/>
            <a:ext cx="658521" cy="6585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C621E20-08B5-7485-D8C5-B27DC11A0439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1561986" y="5733973"/>
            <a:ext cx="946991" cy="432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8751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heme/theme1.xml><?xml version="1.0" encoding="utf-8"?>
<a:theme xmlns:a="http://schemas.openxmlformats.org/drawingml/2006/main" name="LLA Front Cover Slides">
  <a:themeElements>
    <a:clrScheme name="LLA Custom Colors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FF3801"/>
      </a:accent1>
      <a:accent2>
        <a:srgbClr val="831F82"/>
      </a:accent2>
      <a:accent3>
        <a:srgbClr val="C2000B"/>
      </a:accent3>
      <a:accent4>
        <a:srgbClr val="2B66B2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 sz="28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LA Slide Dividers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 sz="28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LA Master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LA HR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LLA Finance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LLA Legal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8C52D815B62B488465A73036F1B5CF" ma:contentTypeVersion="15" ma:contentTypeDescription="Create a new document." ma:contentTypeScope="" ma:versionID="273ac52f8c901162ef4adf9921ad28ce">
  <xsd:schema xmlns:xsd="http://www.w3.org/2001/XMLSchema" xmlns:xs="http://www.w3.org/2001/XMLSchema" xmlns:p="http://schemas.microsoft.com/office/2006/metadata/properties" xmlns:ns2="90238e36-2df5-42ab-a457-98fc3842d0b7" xmlns:ns3="2d1ae080-e173-4c93-986f-dff4d2258dfb" targetNamespace="http://schemas.microsoft.com/office/2006/metadata/properties" ma:root="true" ma:fieldsID="09ce5eeb3b9443b8d9d0ea5a0a141763" ns2:_="" ns3:_="">
    <xsd:import namespace="90238e36-2df5-42ab-a457-98fc3842d0b7"/>
    <xsd:import namespace="2d1ae080-e173-4c93-986f-dff4d2258d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238e36-2df5-42ab-a457-98fc3842d0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174cf5e-0220-4aef-a6aa-adc8eb50cdd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1ae080-e173-4c93-986f-dff4d2258dfb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896dc7c0-3fc8-4d1a-a915-fb56b0e04734}" ma:internalName="TaxCatchAll" ma:showField="CatchAllData" ma:web="2d1ae080-e173-4c93-986f-dff4d2258d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d1ae080-e173-4c93-986f-dff4d2258dfb">
      <UserInfo>
        <DisplayName>Ian OCarroll</DisplayName>
        <AccountId>12</AccountId>
        <AccountType/>
      </UserInfo>
      <UserInfo>
        <DisplayName>Miguel Ramirez</DisplayName>
        <AccountId>19</AccountId>
        <AccountType/>
      </UserInfo>
      <UserInfo>
        <DisplayName>Ignacio Padilla</DisplayName>
        <AccountId>20</AccountId>
        <AccountType/>
      </UserInfo>
      <UserInfo>
        <DisplayName>Natyuvel Coite</DisplayName>
        <AccountId>24</AccountId>
        <AccountType/>
      </UserInfo>
    </SharedWithUsers>
    <lcf76f155ced4ddcb4097134ff3c332f xmlns="90238e36-2df5-42ab-a457-98fc3842d0b7">
      <Terms xmlns="http://schemas.microsoft.com/office/infopath/2007/PartnerControls"/>
    </lcf76f155ced4ddcb4097134ff3c332f>
    <TaxCatchAll xmlns="2d1ae080-e173-4c93-986f-dff4d2258dfb" xsi:nil="true"/>
  </documentManagement>
</p:properties>
</file>

<file path=customXml/itemProps1.xml><?xml version="1.0" encoding="utf-8"?>
<ds:datastoreItem xmlns:ds="http://schemas.openxmlformats.org/officeDocument/2006/customXml" ds:itemID="{7F01C283-DCF1-4E6D-882D-BD25869CC1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C0B81EF-9DF7-4BC7-ADD3-A11C1D7AD4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238e36-2df5-42ab-a457-98fc3842d0b7"/>
    <ds:schemaRef ds:uri="2d1ae080-e173-4c93-986f-dff4d2258d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0B836D1-DB53-4AAD-8338-F5B3900E3EB7}">
  <ds:schemaRefs>
    <ds:schemaRef ds:uri="41cc3cc6-f66d-4180-82c9-e75e163352db"/>
    <ds:schemaRef ds:uri="5300e912-8c70-4f2d-aeb4-da539fc2bd7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2d1ae080-e173-4c93-986f-dff4d2258dfb"/>
    <ds:schemaRef ds:uri="90238e36-2df5-42ab-a457-98fc3842d0b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979</TotalTime>
  <Words>473</Words>
  <Application>Microsoft Office PowerPoint</Application>
  <PresentationFormat>Widescreen</PresentationFormat>
  <Paragraphs>48</Paragraphs>
  <Slides>6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7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LLA Front Cover Slides</vt:lpstr>
      <vt:lpstr>LLA Slide Dividers</vt:lpstr>
      <vt:lpstr>LLA Master Theme</vt:lpstr>
      <vt:lpstr>LLA HR Theme</vt:lpstr>
      <vt:lpstr>LLA Finance Theme</vt:lpstr>
      <vt:lpstr>LLA Legal Theme</vt:lpstr>
      <vt:lpstr>LLA Strategy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lipe Ruiz</dc:creator>
  <cp:lastModifiedBy>Rodriguez, Juan Manuel</cp:lastModifiedBy>
  <cp:revision>7</cp:revision>
  <cp:lastPrinted>2018-05-11T03:40:12Z</cp:lastPrinted>
  <dcterms:created xsi:type="dcterms:W3CDTF">2018-05-10T19:14:30Z</dcterms:created>
  <dcterms:modified xsi:type="dcterms:W3CDTF">2022-07-17T17:3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8C52D815B62B488465A73036F1B5CF</vt:lpwstr>
  </property>
</Properties>
</file>